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omments/modernComment_316_27AED165.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omments/modernComment_319_3CCA6652.xml" ContentType="application/vnd.ms-powerpoint.comments+xml"/>
  <Override PartName="/ppt/notesSlides/notesSlide3.xml" ContentType="application/vnd.openxmlformats-officedocument.presentationml.notesSlide+xml"/>
  <Override PartName="/ppt/comments/modernComment_31D_FE8CE52B.xml" ContentType="application/vnd.ms-powerpoint.comments+xml"/>
  <Override PartName="/ppt/notesSlides/notesSlide4.xml" ContentType="application/vnd.openxmlformats-officedocument.presentationml.notesSlide+xml"/>
  <Override PartName="/ppt/comments/modernComment_32A_59E0258F.xml" ContentType="application/vnd.ms-powerpoint.comments+xml"/>
  <Override PartName="/ppt/comments/modernComment_325_B75540C5.xml" ContentType="application/vnd.ms-powerpoint.comments+xml"/>
  <Override PartName="/ppt/notesSlides/notesSlide5.xml" ContentType="application/vnd.openxmlformats-officedocument.presentationml.notesSlide+xml"/>
  <Override PartName="/ppt/comments/modernComment_333_D4C697CF.xml" ContentType="application/vnd.ms-powerpoint.comments+xml"/>
  <Override PartName="/ppt/notesSlides/notesSlide6.xml" ContentType="application/vnd.openxmlformats-officedocument.presentationml.notesSlide+xml"/>
  <Override PartName="/ppt/comments/modernComment_334_62818D6C.xml" ContentType="application/vnd.ms-powerpoint.comments+xml"/>
  <Override PartName="/ppt/notesSlides/notesSlide7.xml" ContentType="application/vnd.openxmlformats-officedocument.presentationml.notesSlide+xml"/>
  <Override PartName="/ppt/comments/modernComment_335_68885970.xml" ContentType="application/vnd.ms-powerpoint.comments+xml"/>
  <Override PartName="/ppt/notesSlides/notesSlide8.xml" ContentType="application/vnd.openxmlformats-officedocument.presentationml.notesSlide+xml"/>
  <Override PartName="/ppt/comments/modernComment_329_170BC622.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33A_C9F6806F.xml" ContentType="application/vnd.ms-powerpoint.comments+xml"/>
  <Override PartName="/ppt/notesSlides/notesSlide11.xml" ContentType="application/vnd.openxmlformats-officedocument.presentationml.notesSlide+xml"/>
  <Override PartName="/ppt/comments/modernComment_32F_55F2C902.xml" ContentType="application/vnd.ms-powerpoint.comments+xml"/>
  <Override PartName="/ppt/notesSlides/notesSlide12.xml" ContentType="application/vnd.openxmlformats-officedocument.presentationml.notesSlide+xml"/>
  <Override PartName="/ppt/comments/modernComment_331_B630ED2E.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314_B2CE8DE6.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33B_2EF760E9.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omments/modernComment_2C4_4EFEF1D4.xml" ContentType="application/vnd.ms-powerpoint.comment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omments/modernComment_2C7_EA05BB82.xml" ContentType="application/vnd.ms-powerpoint.comments+xml"/>
  <Override PartName="/ppt/notesSlides/notesSlide28.xml" ContentType="application/vnd.openxmlformats-officedocument.presentationml.notesSlide+xml"/>
  <Override PartName="/ppt/comments/modernComment_112_96793EE4.xml" ContentType="application/vnd.ms-powerpoint.comment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omments/modernComment_293_9EA8D1A1.xml" ContentType="application/vnd.ms-powerpoint.comments+xml"/>
  <Override PartName="/ppt/notesSlides/notesSlide31.xml" ContentType="application/vnd.openxmlformats-officedocument.presentationml.notesSlide+xml"/>
  <Override PartName="/ppt/comments/modernComment_294_81F5C653.xml" ContentType="application/vnd.ms-powerpoint.comments+xml"/>
  <Override PartName="/ppt/notesSlides/notesSlide32.xml" ContentType="application/vnd.openxmlformats-officedocument.presentationml.notesSlide+xml"/>
  <Override PartName="/ppt/comments/modernComment_322_75F3E2F4.xml" ContentType="application/vnd.ms-powerpoint.comments+xml"/>
  <Override PartName="/ppt/notesSlides/notesSlide33.xml" ContentType="application/vnd.openxmlformats-officedocument.presentationml.notesSlide+xml"/>
  <Override PartName="/ppt/comments/modernComment_300_B71D6359.xml" ContentType="application/vnd.ms-powerpoint.comments+xml"/>
  <Override PartName="/ppt/notesSlides/notesSlide34.xml" ContentType="application/vnd.openxmlformats-officedocument.presentationml.notesSlide+xml"/>
  <Override PartName="/ppt/comments/modernComment_301_1BAB5F3.xml" ContentType="application/vnd.ms-powerpoint.comment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4"/>
    <p:sldMasterId id="2147483851" r:id="rId5"/>
  </p:sldMasterIdLst>
  <p:notesMasterIdLst>
    <p:notesMasterId r:id="rId46"/>
  </p:notesMasterIdLst>
  <p:handoutMasterIdLst>
    <p:handoutMasterId r:id="rId47"/>
  </p:handoutMasterIdLst>
  <p:sldIdLst>
    <p:sldId id="803" r:id="rId6"/>
    <p:sldId id="782" r:id="rId7"/>
    <p:sldId id="790" r:id="rId8"/>
    <p:sldId id="793" r:id="rId9"/>
    <p:sldId id="797" r:id="rId10"/>
    <p:sldId id="810" r:id="rId11"/>
    <p:sldId id="805" r:id="rId12"/>
    <p:sldId id="819" r:id="rId13"/>
    <p:sldId id="823" r:id="rId14"/>
    <p:sldId id="820" r:id="rId15"/>
    <p:sldId id="821" r:id="rId16"/>
    <p:sldId id="809" r:id="rId17"/>
    <p:sldId id="828" r:id="rId18"/>
    <p:sldId id="826" r:id="rId19"/>
    <p:sldId id="815" r:id="rId20"/>
    <p:sldId id="817" r:id="rId21"/>
    <p:sldId id="813" r:id="rId22"/>
    <p:sldId id="788" r:id="rId23"/>
    <p:sldId id="829" r:id="rId24"/>
    <p:sldId id="830" r:id="rId25"/>
    <p:sldId id="827" r:id="rId26"/>
    <p:sldId id="292" r:id="rId27"/>
    <p:sldId id="656" r:id="rId28"/>
    <p:sldId id="831" r:id="rId29"/>
    <p:sldId id="808" r:id="rId30"/>
    <p:sldId id="816" r:id="rId31"/>
    <p:sldId id="807" r:id="rId32"/>
    <p:sldId id="801" r:id="rId33"/>
    <p:sldId id="708" r:id="rId34"/>
    <p:sldId id="804" r:id="rId35"/>
    <p:sldId id="711" r:id="rId36"/>
    <p:sldId id="274" r:id="rId37"/>
    <p:sldId id="709" r:id="rId38"/>
    <p:sldId id="659" r:id="rId39"/>
    <p:sldId id="660" r:id="rId40"/>
    <p:sldId id="802" r:id="rId41"/>
    <p:sldId id="766" r:id="rId42"/>
    <p:sldId id="768" r:id="rId43"/>
    <p:sldId id="769" r:id="rId44"/>
    <p:sldId id="770"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D049E8DA-7CE5-144B-BA7B-088C2F27E85C}">
          <p14:sldIdLst>
            <p14:sldId id="803"/>
          </p14:sldIdLst>
        </p14:section>
        <p14:section name="Slide Examples" id="{ECCA461A-FAB9-294F-BF46-9452BCFAA2B6}">
          <p14:sldIdLst>
            <p14:sldId id="782"/>
            <p14:sldId id="790"/>
            <p14:sldId id="793"/>
            <p14:sldId id="797"/>
            <p14:sldId id="810"/>
            <p14:sldId id="805"/>
            <p14:sldId id="819"/>
            <p14:sldId id="823"/>
            <p14:sldId id="820"/>
            <p14:sldId id="821"/>
            <p14:sldId id="809"/>
            <p14:sldId id="828"/>
            <p14:sldId id="826"/>
            <p14:sldId id="815"/>
            <p14:sldId id="817"/>
            <p14:sldId id="813"/>
            <p14:sldId id="788"/>
            <p14:sldId id="829"/>
            <p14:sldId id="830"/>
            <p14:sldId id="827"/>
            <p14:sldId id="292"/>
            <p14:sldId id="656"/>
            <p14:sldId id="831"/>
            <p14:sldId id="808"/>
            <p14:sldId id="816"/>
            <p14:sldId id="807"/>
            <p14:sldId id="801"/>
            <p14:sldId id="708"/>
            <p14:sldId id="804"/>
          </p14:sldIdLst>
        </p14:section>
        <p14:section name="Optional Slides" id="{1933D7E0-A56C-364B-B9C1-F4804C93DD95}">
          <p14:sldIdLst>
            <p14:sldId id="711"/>
          </p14:sldIdLst>
        </p14:section>
        <p14:section name="For Church Leaders (optional)" id="{8427DAA2-0F55-3D4C-97B7-E822F7BC02E1}">
          <p14:sldIdLst>
            <p14:sldId id="274"/>
            <p14:sldId id="709"/>
            <p14:sldId id="659"/>
            <p14:sldId id="660"/>
            <p14:sldId id="802"/>
          </p14:sldIdLst>
        </p14:section>
        <p14:section name="EnglishConnect (optional)" id="{B1EDC4D8-FC83-064A-BB1A-28B635183587}">
          <p14:sldIdLst>
            <p14:sldId id="766"/>
            <p14:sldId id="768"/>
            <p14:sldId id="769"/>
            <p14:sldId id="770"/>
          </p14:sldIdLst>
        </p14:section>
      </p14:sectionLst>
    </p:ext>
    <p:ext uri="{EFAFB233-063F-42B5-8137-9DF3F51BA10A}">
      <p15:sldGuideLst xmlns:p15="http://schemas.microsoft.com/office/powerpoint/2012/main">
        <p15:guide id="1" orient="horz" pos="2496"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85D405-1711-1831-477F-C787C7AED583}" name="Brian T. Fogelberg" initials="BTF" userId="S::btfogelberg@churchofjesuschrist.org::1f6ae3f9-19fc-49dd-9903-364b80dd3a35" providerId="AD"/>
  <p188:author id="{C8B20735-A759-B601-A480-7F78478AA43C}" name="Eric Eames" initials="EE" userId="S::ezeames@churchofjesuschrist.org::06bdddd5-1534-4c97-9705-6ccfbde64bab" providerId="AD"/>
  <p188:author id="{72C0B539-49F2-F39A-CA35-868BD0F2DB07}" name="Breanne Su'a" initials="BS" userId="S::brichards111@churchofjesuschrist.org::af39664e-f38d-4a6d-a5e8-a9728706e250" providerId="AD"/>
  <p188:author id="{7F53F03F-B685-1726-08D6-9131CED005D3}" name="Krista Tripodi" initials="KT" userId="S::ktrip42@churchofjesuschrist.org::59ef1354-abc1-481b-9b04-be6e7a4c3fbd" providerId="AD"/>
  <p188:author id="{B3D1B85B-17E4-EE27-E05D-40C5009AA99C}" name="Heidi Jean Harms" initials="HH" userId="S::heidiharms@churchofjesuschrist.org::b7342844-2534-4d4b-8710-0632f461dd8c" providerId="AD"/>
  <p188:author id="{CC7FC594-84DC-F570-4BCB-2191BF6A448C}" name="Holden Orval d'Evegnee" initials="Hd" userId="S::hdevegnee@churchofjesuschrist.org::2df88dc8-6c87-461a-8482-8d296f406766" providerId="AD"/>
  <p188:author id="{FED73FBC-A036-D1F6-3299-491A76AB1ED9}" name="Kamile Walker" initials="KW" userId="S::kamiwalker@churchofjesuschrist.org::a6eb77e7-33bd-4c57-a3cf-538d131ebd7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ian T. Fogelberg" initials="BTF" lastIdx="18" clrIdx="0">
    <p:extLst>
      <p:ext uri="{19B8F6BF-5375-455C-9EA6-DF929625EA0E}">
        <p15:presenceInfo xmlns:p15="http://schemas.microsoft.com/office/powerpoint/2012/main" userId="S::btfogelberg@ldschurch.org::1f6ae3f9-19fc-49dd-9903-364b80dd3a35" providerId="AD"/>
      </p:ext>
    </p:extLst>
  </p:cmAuthor>
  <p:cmAuthor id="2" name="Emily Slade" initials="ES" lastIdx="2" clrIdx="1">
    <p:extLst>
      <p:ext uri="{19B8F6BF-5375-455C-9EA6-DF929625EA0E}">
        <p15:presenceInfo xmlns:p15="http://schemas.microsoft.com/office/powerpoint/2012/main" userId="S::emilymslade@ldschurch.org::f8fe3680-90cc-453f-bc07-4f3cd29feb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A929D"/>
    <a:srgbClr val="454540"/>
    <a:srgbClr val="000000"/>
    <a:srgbClr val="656365"/>
    <a:srgbClr val="E2EEF0"/>
    <a:srgbClr val="B3DCE7"/>
    <a:srgbClr val="A7CCD5"/>
    <a:srgbClr val="EBF7FA"/>
    <a:srgbClr val="EDEFF4"/>
    <a:srgbClr val="6BAB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94"/>
  </p:normalViewPr>
  <p:slideViewPr>
    <p:cSldViewPr snapToGrid="0">
      <p:cViewPr varScale="1">
        <p:scale>
          <a:sx n="104" d="100"/>
          <a:sy n="104" d="100"/>
        </p:scale>
        <p:origin x="184" y="568"/>
      </p:cViewPr>
      <p:guideLst>
        <p:guide orient="horz" pos="2496"/>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mile Walker" userId="S::kamiwalker@churchofjesuschrist.org::a6eb77e7-33bd-4c57-a3cf-538d131ebd75" providerId="AD" clId="Web-{74A192C6-FD1C-87DF-3E77-481119A8DA07}"/>
    <pc:docChg chg="modSld">
      <pc:chgData name="Kamile Walker" userId="S::kamiwalker@churchofjesuschrist.org::a6eb77e7-33bd-4c57-a3cf-538d131ebd75" providerId="AD" clId="Web-{74A192C6-FD1C-87DF-3E77-481119A8DA07}" dt="2023-07-25T18:55:10.768" v="136" actId="1076"/>
      <pc:docMkLst>
        <pc:docMk/>
      </pc:docMkLst>
      <pc:sldChg chg="addSp delSp modSp">
        <pc:chgData name="Kamile Walker" userId="S::kamiwalker@churchofjesuschrist.org::a6eb77e7-33bd-4c57-a3cf-538d131ebd75" providerId="AD" clId="Web-{74A192C6-FD1C-87DF-3E77-481119A8DA07}" dt="2023-07-25T18:45:41.925" v="101" actId="1076"/>
        <pc:sldMkLst>
          <pc:docMk/>
          <pc:sldMk cId="1325330900" sldId="708"/>
        </pc:sldMkLst>
        <pc:spChg chg="add del mod">
          <ac:chgData name="Kamile Walker" userId="S::kamiwalker@churchofjesuschrist.org::a6eb77e7-33bd-4c57-a3cf-538d131ebd75" providerId="AD" clId="Web-{74A192C6-FD1C-87DF-3E77-481119A8DA07}" dt="2023-07-25T18:45:41.925" v="101" actId="1076"/>
          <ac:spMkLst>
            <pc:docMk/>
            <pc:sldMk cId="1325330900" sldId="708"/>
            <ac:spMk id="4" creationId="{A94374B5-F2B9-7340-A780-6E9CB520CA88}"/>
          </ac:spMkLst>
        </pc:spChg>
        <pc:spChg chg="mod">
          <ac:chgData name="Kamile Walker" userId="S::kamiwalker@churchofjesuschrist.org::a6eb77e7-33bd-4c57-a3cf-538d131ebd75" providerId="AD" clId="Web-{74A192C6-FD1C-87DF-3E77-481119A8DA07}" dt="2023-07-25T18:45:29.737" v="100" actId="20577"/>
          <ac:spMkLst>
            <pc:docMk/>
            <pc:sldMk cId="1325330900" sldId="708"/>
            <ac:spMk id="6" creationId="{13E8FC40-0B31-F231-63AD-89B6AE3C938A}"/>
          </ac:spMkLst>
        </pc:spChg>
        <pc:spChg chg="add del mod">
          <ac:chgData name="Kamile Walker" userId="S::kamiwalker@churchofjesuschrist.org::a6eb77e7-33bd-4c57-a3cf-538d131ebd75" providerId="AD" clId="Web-{74A192C6-FD1C-87DF-3E77-481119A8DA07}" dt="2023-07-25T18:44:57.330" v="95"/>
          <ac:spMkLst>
            <pc:docMk/>
            <pc:sldMk cId="1325330900" sldId="708"/>
            <ac:spMk id="10" creationId="{8BABF623-C6D9-0266-09B4-0BB3DC7906CF}"/>
          </ac:spMkLst>
        </pc:spChg>
      </pc:sldChg>
      <pc:sldChg chg="modSp">
        <pc:chgData name="Kamile Walker" userId="S::kamiwalker@churchofjesuschrist.org::a6eb77e7-33bd-4c57-a3cf-538d131ebd75" providerId="AD" clId="Web-{74A192C6-FD1C-87DF-3E77-481119A8DA07}" dt="2023-07-25T18:46:23.598" v="107" actId="20577"/>
        <pc:sldMkLst>
          <pc:docMk/>
          <pc:sldMk cId="3072156505" sldId="768"/>
        </pc:sldMkLst>
        <pc:spChg chg="mod">
          <ac:chgData name="Kamile Walker" userId="S::kamiwalker@churchofjesuschrist.org::a6eb77e7-33bd-4c57-a3cf-538d131ebd75" providerId="AD" clId="Web-{74A192C6-FD1C-87DF-3E77-481119A8DA07}" dt="2023-07-25T18:46:23.598" v="107" actId="20577"/>
          <ac:spMkLst>
            <pc:docMk/>
            <pc:sldMk cId="3072156505" sldId="768"/>
            <ac:spMk id="6" creationId="{EC4FCF43-E4C8-D64C-86C6-C8705D0B98CC}"/>
          </ac:spMkLst>
        </pc:spChg>
      </pc:sldChg>
      <pc:sldChg chg="modSp">
        <pc:chgData name="Kamile Walker" userId="S::kamiwalker@churchofjesuschrist.org::a6eb77e7-33bd-4c57-a3cf-538d131ebd75" providerId="AD" clId="Web-{74A192C6-FD1C-87DF-3E77-481119A8DA07}" dt="2023-07-25T18:48:22.461" v="126" actId="14100"/>
        <pc:sldMkLst>
          <pc:docMk/>
          <pc:sldMk cId="29013491" sldId="769"/>
        </pc:sldMkLst>
        <pc:spChg chg="mod">
          <ac:chgData name="Kamile Walker" userId="S::kamiwalker@churchofjesuschrist.org::a6eb77e7-33bd-4c57-a3cf-538d131ebd75" providerId="AD" clId="Web-{74A192C6-FD1C-87DF-3E77-481119A8DA07}" dt="2023-07-25T18:48:14.195" v="125" actId="14100"/>
          <ac:spMkLst>
            <pc:docMk/>
            <pc:sldMk cId="29013491" sldId="769"/>
            <ac:spMk id="3" creationId="{D8403070-DEEB-8143-B9ED-F146907EEFC3}"/>
          </ac:spMkLst>
        </pc:spChg>
        <pc:spChg chg="mod">
          <ac:chgData name="Kamile Walker" userId="S::kamiwalker@churchofjesuschrist.org::a6eb77e7-33bd-4c57-a3cf-538d131ebd75" providerId="AD" clId="Web-{74A192C6-FD1C-87DF-3E77-481119A8DA07}" dt="2023-07-25T18:48:14.164" v="123" actId="14100"/>
          <ac:spMkLst>
            <pc:docMk/>
            <pc:sldMk cId="29013491" sldId="769"/>
            <ac:spMk id="5" creationId="{CD13F077-4AC6-394F-B59D-28A4A9055A36}"/>
          </ac:spMkLst>
        </pc:spChg>
        <pc:spChg chg="mod">
          <ac:chgData name="Kamile Walker" userId="S::kamiwalker@churchofjesuschrist.org::a6eb77e7-33bd-4c57-a3cf-538d131ebd75" providerId="AD" clId="Web-{74A192C6-FD1C-87DF-3E77-481119A8DA07}" dt="2023-07-25T18:48:22.461" v="126" actId="14100"/>
          <ac:spMkLst>
            <pc:docMk/>
            <pc:sldMk cId="29013491" sldId="769"/>
            <ac:spMk id="10" creationId="{1C0FA216-8D3D-3047-8BAE-DA379674949C}"/>
          </ac:spMkLst>
        </pc:spChg>
      </pc:sldChg>
      <pc:sldChg chg="modSp">
        <pc:chgData name="Kamile Walker" userId="S::kamiwalker@churchofjesuschrist.org::a6eb77e7-33bd-4c57-a3cf-538d131ebd75" providerId="AD" clId="Web-{74A192C6-FD1C-87DF-3E77-481119A8DA07}" dt="2023-07-25T18:44:21.064" v="92" actId="14100"/>
        <pc:sldMkLst>
          <pc:docMk/>
          <pc:sldMk cId="2999881190" sldId="788"/>
        </pc:sldMkLst>
        <pc:spChg chg="mod">
          <ac:chgData name="Kamile Walker" userId="S::kamiwalker@churchofjesuschrist.org::a6eb77e7-33bd-4c57-a3cf-538d131ebd75" providerId="AD" clId="Web-{74A192C6-FD1C-87DF-3E77-481119A8DA07}" dt="2023-07-25T18:44:21.064" v="92" actId="14100"/>
          <ac:spMkLst>
            <pc:docMk/>
            <pc:sldMk cId="2999881190" sldId="788"/>
            <ac:spMk id="2" creationId="{29993704-1A86-D204-ACD4-3DE44E38FA59}"/>
          </ac:spMkLst>
        </pc:spChg>
      </pc:sldChg>
      <pc:sldChg chg="modSp modCm">
        <pc:chgData name="Kamile Walker" userId="S::kamiwalker@churchofjesuschrist.org::a6eb77e7-33bd-4c57-a3cf-538d131ebd75" providerId="AD" clId="Web-{74A192C6-FD1C-87DF-3E77-481119A8DA07}" dt="2023-07-25T16:51:41.828" v="18" actId="1076"/>
        <pc:sldMkLst>
          <pc:docMk/>
          <pc:sldMk cId="665768293" sldId="790"/>
        </pc:sldMkLst>
        <pc:spChg chg="mod">
          <ac:chgData name="Kamile Walker" userId="S::kamiwalker@churchofjesuschrist.org::a6eb77e7-33bd-4c57-a3cf-538d131ebd75" providerId="AD" clId="Web-{74A192C6-FD1C-87DF-3E77-481119A8DA07}" dt="2023-07-25T16:51:38.641" v="17" actId="1076"/>
          <ac:spMkLst>
            <pc:docMk/>
            <pc:sldMk cId="665768293" sldId="790"/>
            <ac:spMk id="2" creationId="{7A1C276B-2A33-C049-AEF8-5AF88AD11664}"/>
          </ac:spMkLst>
        </pc:spChg>
        <pc:spChg chg="mod">
          <ac:chgData name="Kamile Walker" userId="S::kamiwalker@churchofjesuschrist.org::a6eb77e7-33bd-4c57-a3cf-538d131ebd75" providerId="AD" clId="Web-{74A192C6-FD1C-87DF-3E77-481119A8DA07}" dt="2023-07-25T16:51:41.828" v="18" actId="1076"/>
          <ac:spMkLst>
            <pc:docMk/>
            <pc:sldMk cId="665768293" sldId="790"/>
            <ac:spMk id="3" creationId="{2198D0CB-A244-3645-93EF-5E47B40A5F95}"/>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74A192C6-FD1C-87DF-3E77-481119A8DA07}" dt="2023-07-25T16:51:25.874" v="15" actId="20577"/>
              <pc2:cmMkLst xmlns:pc2="http://schemas.microsoft.com/office/powerpoint/2019/9/main/command">
                <pc:docMk/>
                <pc:sldMk cId="665768293" sldId="790"/>
                <pc2:cmMk id="{4881F169-CBD9-46CB-80C1-EC1055548CC1}"/>
              </pc2:cmMkLst>
            </pc226:cmChg>
          </p:ext>
        </pc:extLst>
      </pc:sldChg>
      <pc:sldChg chg="modSp">
        <pc:chgData name="Kamile Walker" userId="S::kamiwalker@churchofjesuschrist.org::a6eb77e7-33bd-4c57-a3cf-538d131ebd75" providerId="AD" clId="Web-{74A192C6-FD1C-87DF-3E77-481119A8DA07}" dt="2023-07-25T18:48:48.461" v="128" actId="20577"/>
        <pc:sldMkLst>
          <pc:docMk/>
          <pc:sldMk cId="4270646571" sldId="797"/>
        </pc:sldMkLst>
        <pc:spChg chg="mod">
          <ac:chgData name="Kamile Walker" userId="S::kamiwalker@churchofjesuschrist.org::a6eb77e7-33bd-4c57-a3cf-538d131ebd75" providerId="AD" clId="Web-{74A192C6-FD1C-87DF-3E77-481119A8DA07}" dt="2023-07-25T18:48:48.461" v="128" actId="20577"/>
          <ac:spMkLst>
            <pc:docMk/>
            <pc:sldMk cId="4270646571" sldId="797"/>
            <ac:spMk id="5" creationId="{7615F437-AACA-9175-406B-64C66D810847}"/>
          </ac:spMkLst>
        </pc:spChg>
        <pc:spChg chg="mod">
          <ac:chgData name="Kamile Walker" userId="S::kamiwalker@churchofjesuschrist.org::a6eb77e7-33bd-4c57-a3cf-538d131ebd75" providerId="AD" clId="Web-{74A192C6-FD1C-87DF-3E77-481119A8DA07}" dt="2023-07-25T16:53:03.804" v="23" actId="1076"/>
          <ac:spMkLst>
            <pc:docMk/>
            <pc:sldMk cId="4270646571" sldId="797"/>
            <ac:spMk id="9" creationId="{BB15C4F1-E9E5-652F-3489-C6E81DA9DC88}"/>
          </ac:spMkLst>
        </pc:spChg>
      </pc:sldChg>
      <pc:sldChg chg="modSp">
        <pc:chgData name="Kamile Walker" userId="S::kamiwalker@churchofjesuschrist.org::a6eb77e7-33bd-4c57-a3cf-538d131ebd75" providerId="AD" clId="Web-{74A192C6-FD1C-87DF-3E77-481119A8DA07}" dt="2023-07-25T18:55:10.768" v="136" actId="1076"/>
        <pc:sldMkLst>
          <pc:docMk/>
          <pc:sldMk cId="3075817669" sldId="805"/>
        </pc:sldMkLst>
        <pc:spChg chg="mod">
          <ac:chgData name="Kamile Walker" userId="S::kamiwalker@churchofjesuschrist.org::a6eb77e7-33bd-4c57-a3cf-538d131ebd75" providerId="AD" clId="Web-{74A192C6-FD1C-87DF-3E77-481119A8DA07}" dt="2023-07-25T18:55:10.768" v="136" actId="1076"/>
          <ac:spMkLst>
            <pc:docMk/>
            <pc:sldMk cId="3075817669" sldId="805"/>
            <ac:spMk id="2" creationId="{6CC1E558-4DAA-386B-1179-C0D0BB178547}"/>
          </ac:spMkLst>
        </pc:spChg>
        <pc:spChg chg="mod">
          <ac:chgData name="Kamile Walker" userId="S::kamiwalker@churchofjesuschrist.org::a6eb77e7-33bd-4c57-a3cf-538d131ebd75" providerId="AD" clId="Web-{74A192C6-FD1C-87DF-3E77-481119A8DA07}" dt="2023-07-25T18:54:58.034" v="133" actId="1076"/>
          <ac:spMkLst>
            <pc:docMk/>
            <pc:sldMk cId="3075817669" sldId="805"/>
            <ac:spMk id="5" creationId="{85A8D91E-9E2B-3E60-BC05-352ECCCECD29}"/>
          </ac:spMkLst>
        </pc:spChg>
        <pc:spChg chg="mod">
          <ac:chgData name="Kamile Walker" userId="S::kamiwalker@churchofjesuschrist.org::a6eb77e7-33bd-4c57-a3cf-538d131ebd75" providerId="AD" clId="Web-{74A192C6-FD1C-87DF-3E77-481119A8DA07}" dt="2023-07-25T16:53:56.901" v="31" actId="14100"/>
          <ac:spMkLst>
            <pc:docMk/>
            <pc:sldMk cId="3075817669" sldId="805"/>
            <ac:spMk id="17" creationId="{5550BE1B-AFCC-B7D5-9AA6-23335220E768}"/>
          </ac:spMkLst>
        </pc:spChg>
        <pc:spChg chg="mod">
          <ac:chgData name="Kamile Walker" userId="S::kamiwalker@churchofjesuschrist.org::a6eb77e7-33bd-4c57-a3cf-538d131ebd75" providerId="AD" clId="Web-{74A192C6-FD1C-87DF-3E77-481119A8DA07}" dt="2023-07-25T17:31:55.529" v="59" actId="1076"/>
          <ac:spMkLst>
            <pc:docMk/>
            <pc:sldMk cId="3075817669" sldId="805"/>
            <ac:spMk id="34" creationId="{416DF48E-CA52-29A7-3796-A2B845252115}"/>
          </ac:spMkLst>
        </pc:spChg>
        <pc:picChg chg="mod">
          <ac:chgData name="Kamile Walker" userId="S::kamiwalker@churchofjesuschrist.org::a6eb77e7-33bd-4c57-a3cf-538d131ebd75" providerId="AD" clId="Web-{74A192C6-FD1C-87DF-3E77-481119A8DA07}" dt="2023-07-25T16:53:54.214" v="30" actId="1076"/>
          <ac:picMkLst>
            <pc:docMk/>
            <pc:sldMk cId="3075817669" sldId="805"/>
            <ac:picMk id="14" creationId="{50D12EBC-6B69-6CDD-13CD-B93740B79817}"/>
          </ac:picMkLst>
        </pc:picChg>
      </pc:sldChg>
      <pc:sldChg chg="addSp delSp modSp modCm">
        <pc:chgData name="Kamile Walker" userId="S::kamiwalker@churchofjesuschrist.org::a6eb77e7-33bd-4c57-a3cf-538d131ebd75" providerId="AD" clId="Web-{74A192C6-FD1C-87DF-3E77-481119A8DA07}" dt="2023-07-25T18:54:39.455" v="132"/>
        <pc:sldMkLst>
          <pc:docMk/>
          <pc:sldMk cId="1507861903" sldId="810"/>
        </pc:sldMkLst>
        <pc:picChg chg="add del mod">
          <ac:chgData name="Kamile Walker" userId="S::kamiwalker@churchofjesuschrist.org::a6eb77e7-33bd-4c57-a3cf-538d131ebd75" providerId="AD" clId="Web-{74A192C6-FD1C-87DF-3E77-481119A8DA07}" dt="2023-07-25T18:54:39.455" v="132"/>
          <ac:picMkLst>
            <pc:docMk/>
            <pc:sldMk cId="1507861903" sldId="810"/>
            <ac:picMk id="3" creationId="{DD47FAD8-AD10-E57E-FBD1-C7CEB01A552A}"/>
          </ac:picMkLst>
        </pc:picChg>
        <pc:extLst>
          <p:ext xmlns:p="http://schemas.openxmlformats.org/presentationml/2006/main" uri="{D6D511B9-2390-475A-947B-AFAB55BFBCF1}">
            <pc226:cmChg xmlns:pc226="http://schemas.microsoft.com/office/powerpoint/2022/06/main/command" chg="">
              <pc226:chgData name="Kamile Walker" userId="S::kamiwalker@churchofjesuschrist.org::a6eb77e7-33bd-4c57-a3cf-538d131ebd75" providerId="AD" clId="Web-{74A192C6-FD1C-87DF-3E77-481119A8DA07}" dt="2023-07-25T18:49:58.588" v="129"/>
              <pc2:cmMkLst xmlns:pc2="http://schemas.microsoft.com/office/powerpoint/2019/9/main/command">
                <pc:docMk/>
                <pc:sldMk cId="1507861903" sldId="810"/>
                <pc2:cmMk id="{C5985880-FF18-42D3-B8DD-B68C596BDBF9}"/>
              </pc2:cmMkLst>
              <pc226:cmRplyChg chg="add">
                <pc226:chgData name="Kamile Walker" userId="S::kamiwalker@churchofjesuschrist.org::a6eb77e7-33bd-4c57-a3cf-538d131ebd75" providerId="AD" clId="Web-{74A192C6-FD1C-87DF-3E77-481119A8DA07}" dt="2023-07-25T18:49:58.588" v="129"/>
                <pc2:cmRplyMkLst xmlns:pc2="http://schemas.microsoft.com/office/powerpoint/2019/9/main/command">
                  <pc:docMk/>
                  <pc:sldMk cId="1507861903" sldId="810"/>
                  <pc2:cmMk id="{C5985880-FF18-42D3-B8DD-B68C596BDBF9}"/>
                  <pc2:cmRplyMk id="{0A5A981A-BBB3-4BA6-B9D5-29B85FBB50AA}"/>
                </pc2:cmRplyMkLst>
              </pc226:cmRplyChg>
            </pc226:cmChg>
          </p:ext>
        </pc:extLst>
      </pc:sldChg>
      <pc:sldChg chg="modSp">
        <pc:chgData name="Kamile Walker" userId="S::kamiwalker@churchofjesuschrist.org::a6eb77e7-33bd-4c57-a3cf-538d131ebd75" providerId="AD" clId="Web-{74A192C6-FD1C-87DF-3E77-481119A8DA07}" dt="2023-07-25T18:40:09.120" v="85" actId="14100"/>
        <pc:sldMkLst>
          <pc:docMk/>
          <pc:sldMk cId="1441974530" sldId="815"/>
        </pc:sldMkLst>
        <pc:spChg chg="mod">
          <ac:chgData name="Kamile Walker" userId="S::kamiwalker@churchofjesuschrist.org::a6eb77e7-33bd-4c57-a3cf-538d131ebd75" providerId="AD" clId="Web-{74A192C6-FD1C-87DF-3E77-481119A8DA07}" dt="2023-07-25T18:40:09.120" v="85" actId="14100"/>
          <ac:spMkLst>
            <pc:docMk/>
            <pc:sldMk cId="1441974530" sldId="815"/>
            <ac:spMk id="3" creationId="{BE07B411-CDC2-D3FF-7B15-5B15B41B0571}"/>
          </ac:spMkLst>
        </pc:spChg>
      </pc:sldChg>
      <pc:sldChg chg="modSp">
        <pc:chgData name="Kamile Walker" userId="S::kamiwalker@churchofjesuschrist.org::a6eb77e7-33bd-4c57-a3cf-538d131ebd75" providerId="AD" clId="Web-{74A192C6-FD1C-87DF-3E77-481119A8DA07}" dt="2023-07-25T18:44:07.126" v="90" actId="20577"/>
        <pc:sldMkLst>
          <pc:docMk/>
          <pc:sldMk cId="3056659758" sldId="817"/>
        </pc:sldMkLst>
        <pc:spChg chg="mod">
          <ac:chgData name="Kamile Walker" userId="S::kamiwalker@churchofjesuschrist.org::a6eb77e7-33bd-4c57-a3cf-538d131ebd75" providerId="AD" clId="Web-{74A192C6-FD1C-87DF-3E77-481119A8DA07}" dt="2023-07-25T18:43:50.360" v="87" actId="14100"/>
          <ac:spMkLst>
            <pc:docMk/>
            <pc:sldMk cId="3056659758" sldId="817"/>
            <ac:spMk id="3" creationId="{BE07B411-CDC2-D3FF-7B15-5B15B41B0571}"/>
          </ac:spMkLst>
        </pc:spChg>
        <pc:spChg chg="mod">
          <ac:chgData name="Kamile Walker" userId="S::kamiwalker@churchofjesuschrist.org::a6eb77e7-33bd-4c57-a3cf-538d131ebd75" providerId="AD" clId="Web-{74A192C6-FD1C-87DF-3E77-481119A8DA07}" dt="2023-07-25T18:44:07.126" v="90" actId="20577"/>
          <ac:spMkLst>
            <pc:docMk/>
            <pc:sldMk cId="3056659758" sldId="817"/>
            <ac:spMk id="8" creationId="{5864B0E4-E93F-F74B-7825-C74E2D53DD66}"/>
          </ac:spMkLst>
        </pc:spChg>
      </pc:sldChg>
      <pc:sldChg chg="modSp">
        <pc:chgData name="Kamile Walker" userId="S::kamiwalker@churchofjesuschrist.org::a6eb77e7-33bd-4c57-a3cf-538d131ebd75" providerId="AD" clId="Web-{74A192C6-FD1C-87DF-3E77-481119A8DA07}" dt="2023-07-25T16:55:49.223" v="54" actId="1076"/>
        <pc:sldMkLst>
          <pc:docMk/>
          <pc:sldMk cId="3569784783" sldId="819"/>
        </pc:sldMkLst>
        <pc:spChg chg="mod">
          <ac:chgData name="Kamile Walker" userId="S::kamiwalker@churchofjesuschrist.org::a6eb77e7-33bd-4c57-a3cf-538d131ebd75" providerId="AD" clId="Web-{74A192C6-FD1C-87DF-3E77-481119A8DA07}" dt="2023-07-25T16:55:49.223" v="54" actId="1076"/>
          <ac:spMkLst>
            <pc:docMk/>
            <pc:sldMk cId="3569784783" sldId="819"/>
            <ac:spMk id="27" creationId="{061D94E2-836E-EE4F-AC2E-903DE5C55B97}"/>
          </ac:spMkLst>
        </pc:spChg>
        <pc:spChg chg="mod">
          <ac:chgData name="Kamile Walker" userId="S::kamiwalker@churchofjesuschrist.org::a6eb77e7-33bd-4c57-a3cf-538d131ebd75" providerId="AD" clId="Web-{74A192C6-FD1C-87DF-3E77-481119A8DA07}" dt="2023-07-25T16:55:41.066" v="52" actId="1076"/>
          <ac:spMkLst>
            <pc:docMk/>
            <pc:sldMk cId="3569784783" sldId="819"/>
            <ac:spMk id="28" creationId="{2DF252B8-74CF-F44D-9C66-D414C0B370E9}"/>
          </ac:spMkLst>
        </pc:spChg>
        <pc:spChg chg="mod">
          <ac:chgData name="Kamile Walker" userId="S::kamiwalker@churchofjesuschrist.org::a6eb77e7-33bd-4c57-a3cf-538d131ebd75" providerId="AD" clId="Web-{74A192C6-FD1C-87DF-3E77-481119A8DA07}" dt="2023-07-25T16:55:27.221" v="50" actId="1076"/>
          <ac:spMkLst>
            <pc:docMk/>
            <pc:sldMk cId="3569784783" sldId="819"/>
            <ac:spMk id="29" creationId="{CED74288-F993-2A4C-A717-1C6A7F535098}"/>
          </ac:spMkLst>
        </pc:spChg>
        <pc:picChg chg="mod">
          <ac:chgData name="Kamile Walker" userId="S::kamiwalker@churchofjesuschrist.org::a6eb77e7-33bd-4c57-a3cf-538d131ebd75" providerId="AD" clId="Web-{74A192C6-FD1C-87DF-3E77-481119A8DA07}" dt="2023-07-25T16:55:27.205" v="49" actId="1076"/>
          <ac:picMkLst>
            <pc:docMk/>
            <pc:sldMk cId="3569784783" sldId="819"/>
            <ac:picMk id="15" creationId="{4751089D-F608-11C4-D7FE-8747798B7545}"/>
          </ac:picMkLst>
        </pc:picChg>
        <pc:picChg chg="mod">
          <ac:chgData name="Kamile Walker" userId="S::kamiwalker@churchofjesuschrist.org::a6eb77e7-33bd-4c57-a3cf-538d131ebd75" providerId="AD" clId="Web-{74A192C6-FD1C-87DF-3E77-481119A8DA07}" dt="2023-07-25T16:55:41.050" v="51" actId="1076"/>
          <ac:picMkLst>
            <pc:docMk/>
            <pc:sldMk cId="3569784783" sldId="819"/>
            <ac:picMk id="17" creationId="{75FD2F3B-D7F7-621E-F062-E1CBD8B19254}"/>
          </ac:picMkLst>
        </pc:picChg>
        <pc:picChg chg="mod">
          <ac:chgData name="Kamile Walker" userId="S::kamiwalker@churchofjesuschrist.org::a6eb77e7-33bd-4c57-a3cf-538d131ebd75" providerId="AD" clId="Web-{74A192C6-FD1C-87DF-3E77-481119A8DA07}" dt="2023-07-25T16:55:49.223" v="53" actId="1076"/>
          <ac:picMkLst>
            <pc:docMk/>
            <pc:sldMk cId="3569784783" sldId="819"/>
            <ac:picMk id="21" creationId="{35A9E54B-D6E0-9249-69DD-E5E96D4812DE}"/>
          </ac:picMkLst>
        </pc:picChg>
      </pc:sldChg>
      <pc:sldChg chg="modSp modCm">
        <pc:chgData name="Kamile Walker" userId="S::kamiwalker@churchofjesuschrist.org::a6eb77e7-33bd-4c57-a3cf-538d131ebd75" providerId="AD" clId="Web-{74A192C6-FD1C-87DF-3E77-481119A8DA07}" dt="2023-07-25T18:37:20.147" v="65" actId="20577"/>
        <pc:sldMkLst>
          <pc:docMk/>
          <pc:sldMk cId="1652657516" sldId="820"/>
        </pc:sldMkLst>
        <pc:spChg chg="mod">
          <ac:chgData name="Kamile Walker" userId="S::kamiwalker@churchofjesuschrist.org::a6eb77e7-33bd-4c57-a3cf-538d131ebd75" providerId="AD" clId="Web-{74A192C6-FD1C-87DF-3E77-481119A8DA07}" dt="2023-07-25T18:37:20.147" v="65" actId="20577"/>
          <ac:spMkLst>
            <pc:docMk/>
            <pc:sldMk cId="1652657516" sldId="820"/>
            <ac:spMk id="18" creationId="{E5360234-A6FA-4FE7-3C0B-C21B407E304B}"/>
          </ac:spMkLst>
        </pc:spChg>
        <pc:extLst>
          <p:ext xmlns:p="http://schemas.openxmlformats.org/presentationml/2006/main" uri="{D6D511B9-2390-475A-947B-AFAB55BFBCF1}">
            <pc226:cmChg xmlns:pc226="http://schemas.microsoft.com/office/powerpoint/2022/06/main/command" chg="">
              <pc226:chgData name="Kamile Walker" userId="S::kamiwalker@churchofjesuschrist.org::a6eb77e7-33bd-4c57-a3cf-538d131ebd75" providerId="AD" clId="Web-{74A192C6-FD1C-87DF-3E77-481119A8DA07}" dt="2023-07-25T18:36:19.317" v="60"/>
              <pc2:cmMkLst xmlns:pc2="http://schemas.microsoft.com/office/powerpoint/2019/9/main/command">
                <pc:docMk/>
                <pc:sldMk cId="1652657516" sldId="820"/>
                <pc2:cmMk id="{2EE799AF-AB3C-44B0-8059-C974F853396E}"/>
              </pc2:cmMkLst>
              <pc226:cmRplyChg chg="add">
                <pc226:chgData name="Kamile Walker" userId="S::kamiwalker@churchofjesuschrist.org::a6eb77e7-33bd-4c57-a3cf-538d131ebd75" providerId="AD" clId="Web-{74A192C6-FD1C-87DF-3E77-481119A8DA07}" dt="2023-07-25T18:36:19.317" v="60"/>
                <pc2:cmRplyMkLst xmlns:pc2="http://schemas.microsoft.com/office/powerpoint/2019/9/main/command">
                  <pc:docMk/>
                  <pc:sldMk cId="1652657516" sldId="820"/>
                  <pc2:cmMk id="{2EE799AF-AB3C-44B0-8059-C974F853396E}"/>
                  <pc2:cmRplyMk id="{A5C9F289-748D-4692-BE0E-39FA457309BE}"/>
                </pc2:cmRplyMkLst>
              </pc226:cmRplyChg>
            </pc226:cmChg>
          </p:ext>
        </pc:extLst>
      </pc:sldChg>
      <pc:sldChg chg="modSp">
        <pc:chgData name="Kamile Walker" userId="S::kamiwalker@churchofjesuschrist.org::a6eb77e7-33bd-4c57-a3cf-538d131ebd75" providerId="AD" clId="Web-{74A192C6-FD1C-87DF-3E77-481119A8DA07}" dt="2023-07-25T18:39:48.588" v="84" actId="1076"/>
        <pc:sldMkLst>
          <pc:docMk/>
          <pc:sldMk cId="1753766256" sldId="821"/>
        </pc:sldMkLst>
        <pc:spChg chg="mod">
          <ac:chgData name="Kamile Walker" userId="S::kamiwalker@churchofjesuschrist.org::a6eb77e7-33bd-4c57-a3cf-538d131ebd75" providerId="AD" clId="Web-{74A192C6-FD1C-87DF-3E77-481119A8DA07}" dt="2023-07-25T18:37:41.663" v="69" actId="14100"/>
          <ac:spMkLst>
            <pc:docMk/>
            <pc:sldMk cId="1753766256" sldId="821"/>
            <ac:spMk id="9" creationId="{4AD386F1-F22E-CF4B-4EF8-839D5722921A}"/>
          </ac:spMkLst>
        </pc:spChg>
        <pc:spChg chg="mod">
          <ac:chgData name="Kamile Walker" userId="S::kamiwalker@churchofjesuschrist.org::a6eb77e7-33bd-4c57-a3cf-538d131ebd75" providerId="AD" clId="Web-{74A192C6-FD1C-87DF-3E77-481119A8DA07}" dt="2023-07-25T18:39:42.775" v="83" actId="1076"/>
          <ac:spMkLst>
            <pc:docMk/>
            <pc:sldMk cId="1753766256" sldId="821"/>
            <ac:spMk id="10" creationId="{8341FD57-6A23-9EAE-4BDD-CAC349729806}"/>
          </ac:spMkLst>
        </pc:spChg>
        <pc:spChg chg="mod">
          <ac:chgData name="Kamile Walker" userId="S::kamiwalker@churchofjesuschrist.org::a6eb77e7-33bd-4c57-a3cf-538d131ebd75" providerId="AD" clId="Web-{74A192C6-FD1C-87DF-3E77-481119A8DA07}" dt="2023-07-25T18:39:48.588" v="84" actId="1076"/>
          <ac:spMkLst>
            <pc:docMk/>
            <pc:sldMk cId="1753766256" sldId="821"/>
            <ac:spMk id="12" creationId="{6C59D464-D814-8A2A-D041-1B74971D1040}"/>
          </ac:spMkLst>
        </pc:spChg>
        <pc:spChg chg="mod">
          <ac:chgData name="Kamile Walker" userId="S::kamiwalker@churchofjesuschrist.org::a6eb77e7-33bd-4c57-a3cf-538d131ebd75" providerId="AD" clId="Web-{74A192C6-FD1C-87DF-3E77-481119A8DA07}" dt="2023-07-25T18:39:07.368" v="76" actId="1076"/>
          <ac:spMkLst>
            <pc:docMk/>
            <pc:sldMk cId="1753766256" sldId="821"/>
            <ac:spMk id="16" creationId="{5A735293-87D8-8CAC-E0CA-70E6BB935B57}"/>
          </ac:spMkLst>
        </pc:spChg>
        <pc:spChg chg="mod">
          <ac:chgData name="Kamile Walker" userId="S::kamiwalker@churchofjesuschrist.org::a6eb77e7-33bd-4c57-a3cf-538d131ebd75" providerId="AD" clId="Web-{74A192C6-FD1C-87DF-3E77-481119A8DA07}" dt="2023-07-25T18:39:11.650" v="77" actId="1076"/>
          <ac:spMkLst>
            <pc:docMk/>
            <pc:sldMk cId="1753766256" sldId="821"/>
            <ac:spMk id="18" creationId="{02FBDC5A-D8BC-1372-6317-A0725F7EF076}"/>
          </ac:spMkLst>
        </pc:spChg>
        <pc:picChg chg="mod">
          <ac:chgData name="Kamile Walker" userId="S::kamiwalker@churchofjesuschrist.org::a6eb77e7-33bd-4c57-a3cf-538d131ebd75" providerId="AD" clId="Web-{74A192C6-FD1C-87DF-3E77-481119A8DA07}" dt="2023-07-25T18:39:42.775" v="82" actId="1076"/>
          <ac:picMkLst>
            <pc:docMk/>
            <pc:sldMk cId="1753766256" sldId="821"/>
            <ac:picMk id="15" creationId="{8A83AB06-9D28-F46A-961D-EF3C41462677}"/>
          </ac:picMkLst>
        </pc:picChg>
        <pc:picChg chg="mod">
          <ac:chgData name="Kamile Walker" userId="S::kamiwalker@churchofjesuschrist.org::a6eb77e7-33bd-4c57-a3cf-538d131ebd75" providerId="AD" clId="Web-{74A192C6-FD1C-87DF-3E77-481119A8DA07}" dt="2023-07-25T18:39:18.009" v="78" actId="1076"/>
          <ac:picMkLst>
            <pc:docMk/>
            <pc:sldMk cId="1753766256" sldId="821"/>
            <ac:picMk id="20" creationId="{D2F16718-1BFF-1308-92C5-75C13A9DA4FC}"/>
          </ac:picMkLst>
        </pc:picChg>
      </pc:sldChg>
      <pc:sldChg chg="modCm">
        <pc:chgData name="Kamile Walker" userId="S::kamiwalker@churchofjesuschrist.org::a6eb77e7-33bd-4c57-a3cf-538d131ebd75" providerId="AD" clId="Web-{74A192C6-FD1C-87DF-3E77-481119A8DA07}" dt="2023-07-25T18:43:38.578" v="86"/>
        <pc:sldMkLst>
          <pc:docMk/>
          <pc:sldMk cId="3388375151" sldId="826"/>
        </pc:sldMkLst>
        <pc:extLst>
          <p:ext xmlns:p="http://schemas.openxmlformats.org/presentationml/2006/main" uri="{D6D511B9-2390-475A-947B-AFAB55BFBCF1}">
            <pc226:cmChg xmlns:pc226="http://schemas.microsoft.com/office/powerpoint/2022/06/main/command" chg="">
              <pc226:chgData name="Kamile Walker" userId="S::kamiwalker@churchofjesuschrist.org::a6eb77e7-33bd-4c57-a3cf-538d131ebd75" providerId="AD" clId="Web-{74A192C6-FD1C-87DF-3E77-481119A8DA07}" dt="2023-07-25T18:43:38.578" v="86"/>
              <pc2:cmMkLst xmlns:pc2="http://schemas.microsoft.com/office/powerpoint/2019/9/main/command">
                <pc:docMk/>
                <pc:sldMk cId="3388375151" sldId="826"/>
                <pc2:cmMk id="{8A8EAA6F-FF5B-4E2B-8753-08CA12D1EF8E}"/>
              </pc2:cmMkLst>
              <pc226:cmRplyChg chg="add">
                <pc226:chgData name="Kamile Walker" userId="S::kamiwalker@churchofjesuschrist.org::a6eb77e7-33bd-4c57-a3cf-538d131ebd75" providerId="AD" clId="Web-{74A192C6-FD1C-87DF-3E77-481119A8DA07}" dt="2023-07-25T18:43:38.578" v="86"/>
                <pc2:cmRplyMkLst xmlns:pc2="http://schemas.microsoft.com/office/powerpoint/2019/9/main/command">
                  <pc:docMk/>
                  <pc:sldMk cId="3388375151" sldId="826"/>
                  <pc2:cmMk id="{8A8EAA6F-FF5B-4E2B-8753-08CA12D1EF8E}"/>
                  <pc2:cmRplyMk id="{06A435F6-7DDA-4203-BBFC-F9D69659BB44}"/>
                </pc2:cmRplyMkLst>
              </pc226:cmRplyChg>
            </pc226:cmChg>
          </p:ext>
        </pc:extLst>
      </pc:sldChg>
    </pc:docChg>
  </pc:docChgLst>
  <pc:docChgLst>
    <pc:chgData name="Kamile Walker" userId="S::kamiwalker@churchofjesuschrist.org::a6eb77e7-33bd-4c57-a3cf-538d131ebd75" providerId="AD" clId="Web-{A399141D-54F9-1B4B-7C25-6627CD23C3DC}"/>
    <pc:docChg chg="addSld delSld modSld modSection">
      <pc:chgData name="Kamile Walker" userId="S::kamiwalker@churchofjesuschrist.org::a6eb77e7-33bd-4c57-a3cf-538d131ebd75" providerId="AD" clId="Web-{A399141D-54F9-1B4B-7C25-6627CD23C3DC}" dt="2023-08-07T18:47:58.342" v="130" actId="20577"/>
      <pc:docMkLst>
        <pc:docMk/>
      </pc:docMkLst>
      <pc:sldChg chg="modSp modCm">
        <pc:chgData name="Kamile Walker" userId="S::kamiwalker@churchofjesuschrist.org::a6eb77e7-33bd-4c57-a3cf-538d131ebd75" providerId="AD" clId="Web-{A399141D-54F9-1B4B-7C25-6627CD23C3DC}" dt="2023-08-07T18:36:54.804" v="12" actId="20577"/>
        <pc:sldMkLst>
          <pc:docMk/>
          <pc:sldMk cId="3075817669" sldId="805"/>
        </pc:sldMkLst>
        <pc:spChg chg="mod">
          <ac:chgData name="Kamile Walker" userId="S::kamiwalker@churchofjesuschrist.org::a6eb77e7-33bd-4c57-a3cf-538d131ebd75" providerId="AD" clId="Web-{A399141D-54F9-1B4B-7C25-6627CD23C3DC}" dt="2023-08-07T18:36:54.804" v="12" actId="20577"/>
          <ac:spMkLst>
            <pc:docMk/>
            <pc:sldMk cId="3075817669" sldId="805"/>
            <ac:spMk id="5" creationId="{85A8D91E-9E2B-3E60-BC05-352ECCCECD29}"/>
          </ac:spMkLst>
        </pc:spChg>
        <pc:spChg chg="mod">
          <ac:chgData name="Kamile Walker" userId="S::kamiwalker@churchofjesuschrist.org::a6eb77e7-33bd-4c57-a3cf-538d131ebd75" providerId="AD" clId="Web-{A399141D-54F9-1B4B-7C25-6627CD23C3DC}" dt="2023-08-07T18:36:33.601" v="10" actId="20577"/>
          <ac:spMkLst>
            <pc:docMk/>
            <pc:sldMk cId="3075817669" sldId="805"/>
            <ac:spMk id="20" creationId="{5A77A19F-CD5E-F7C5-B11F-5ED8EEE3C2D3}"/>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A399141D-54F9-1B4B-7C25-6627CD23C3DC}" dt="2023-08-07T18:36:54.086" v="11" actId="20577"/>
              <pc2:cmMkLst xmlns:pc2="http://schemas.microsoft.com/office/powerpoint/2019/9/main/command">
                <pc:docMk/>
                <pc:sldMk cId="3075817669" sldId="805"/>
                <pc2:cmMk id="{59C72F14-588C-499E-9780-44801F786EEB}"/>
              </pc2:cmMkLst>
            </pc226:cmChg>
            <pc226:cmChg xmlns:pc226="http://schemas.microsoft.com/office/powerpoint/2022/06/main/command" chg="mod">
              <pc226:chgData name="Kamile Walker" userId="S::kamiwalker@churchofjesuschrist.org::a6eb77e7-33bd-4c57-a3cf-538d131ebd75" providerId="AD" clId="Web-{A399141D-54F9-1B4B-7C25-6627CD23C3DC}" dt="2023-08-07T18:36:54.086" v="11" actId="20577"/>
              <pc2:cmMkLst xmlns:pc2="http://schemas.microsoft.com/office/powerpoint/2019/9/main/command">
                <pc:docMk/>
                <pc:sldMk cId="3075817669" sldId="805"/>
                <pc2:cmMk id="{B692DD4F-9231-43E9-BEB0-97D6AD1B8E5F}"/>
              </pc2:cmMkLst>
            </pc226:cmChg>
            <pc226:cmChg xmlns:pc226="http://schemas.microsoft.com/office/powerpoint/2022/06/main/command" chg="mod">
              <pc226:chgData name="Kamile Walker" userId="S::kamiwalker@churchofjesuschrist.org::a6eb77e7-33bd-4c57-a3cf-538d131ebd75" providerId="AD" clId="Web-{A399141D-54F9-1B4B-7C25-6627CD23C3DC}" dt="2023-08-07T18:36:54.086" v="11" actId="20577"/>
              <pc2:cmMkLst xmlns:pc2="http://schemas.microsoft.com/office/powerpoint/2019/9/main/command">
                <pc:docMk/>
                <pc:sldMk cId="3075817669" sldId="805"/>
                <pc2:cmMk id="{6CC11755-1675-425C-8F76-C8EE418CC94A}"/>
              </pc2:cmMkLst>
            </pc226:cmChg>
            <pc226:cmChg xmlns:pc226="http://schemas.microsoft.com/office/powerpoint/2022/06/main/command" chg="mod">
              <pc226:chgData name="Kamile Walker" userId="S::kamiwalker@churchofjesuschrist.org::a6eb77e7-33bd-4c57-a3cf-538d131ebd75" providerId="AD" clId="Web-{A399141D-54F9-1B4B-7C25-6627CD23C3DC}" dt="2023-08-07T18:36:33.601" v="10" actId="20577"/>
              <pc2:cmMkLst xmlns:pc2="http://schemas.microsoft.com/office/powerpoint/2019/9/main/command">
                <pc:docMk/>
                <pc:sldMk cId="3075817669" sldId="805"/>
                <pc2:cmMk id="{1AA9CC5A-3759-418B-82B8-D230709326BA}"/>
              </pc2:cmMkLst>
            </pc226:cmChg>
            <pc226:cmChg xmlns:pc226="http://schemas.microsoft.com/office/powerpoint/2022/06/main/command" chg="mod">
              <pc226:chgData name="Kamile Walker" userId="S::kamiwalker@churchofjesuschrist.org::a6eb77e7-33bd-4c57-a3cf-538d131ebd75" providerId="AD" clId="Web-{A399141D-54F9-1B4B-7C25-6627CD23C3DC}" dt="2023-08-07T18:36:54.086" v="11" actId="20577"/>
              <pc2:cmMkLst xmlns:pc2="http://schemas.microsoft.com/office/powerpoint/2019/9/main/command">
                <pc:docMk/>
                <pc:sldMk cId="3075817669" sldId="805"/>
                <pc2:cmMk id="{C112C86A-6C6F-4AEE-8615-08FF6DD73CA5}"/>
              </pc2:cmMkLst>
            </pc226:cmChg>
            <pc226:cmChg xmlns:pc226="http://schemas.microsoft.com/office/powerpoint/2022/06/main/command" chg="mod">
              <pc226:chgData name="Kamile Walker" userId="S::kamiwalker@churchofjesuschrist.org::a6eb77e7-33bd-4c57-a3cf-538d131ebd75" providerId="AD" clId="Web-{A399141D-54F9-1B4B-7C25-6627CD23C3DC}" dt="2023-08-07T18:36:54.086" v="11" actId="20577"/>
              <pc2:cmMkLst xmlns:pc2="http://schemas.microsoft.com/office/powerpoint/2019/9/main/command">
                <pc:docMk/>
                <pc:sldMk cId="3075817669" sldId="805"/>
                <pc2:cmMk id="{AE17AEE6-5854-461C-A376-51F62C24F42D}"/>
              </pc2:cmMkLst>
            </pc226:cmChg>
          </p:ext>
        </pc:extLst>
      </pc:sldChg>
      <pc:sldChg chg="modSp">
        <pc:chgData name="Kamile Walker" userId="S::kamiwalker@churchofjesuschrist.org::a6eb77e7-33bd-4c57-a3cf-538d131ebd75" providerId="AD" clId="Web-{A399141D-54F9-1B4B-7C25-6627CD23C3DC}" dt="2023-08-07T18:35:35.927" v="0"/>
        <pc:sldMkLst>
          <pc:docMk/>
          <pc:sldMk cId="1507861903" sldId="810"/>
        </pc:sldMkLst>
        <pc:picChg chg="mod">
          <ac:chgData name="Kamile Walker" userId="S::kamiwalker@churchofjesuschrist.org::a6eb77e7-33bd-4c57-a3cf-538d131ebd75" providerId="AD" clId="Web-{A399141D-54F9-1B4B-7C25-6627CD23C3DC}" dt="2023-08-07T18:35:35.927" v="0"/>
          <ac:picMkLst>
            <pc:docMk/>
            <pc:sldMk cId="1507861903" sldId="810"/>
            <ac:picMk id="3" creationId="{DD47FAD8-AD10-E57E-FBD1-C7CEB01A552A}"/>
          </ac:picMkLst>
        </pc:picChg>
      </pc:sldChg>
      <pc:sldChg chg="modSp modCm">
        <pc:chgData name="Kamile Walker" userId="S::kamiwalker@churchofjesuschrist.org::a6eb77e7-33bd-4c57-a3cf-538d131ebd75" providerId="AD" clId="Web-{A399141D-54F9-1B4B-7C25-6627CD23C3DC}" dt="2023-08-07T18:46:10.620" v="102" actId="14100"/>
        <pc:sldMkLst>
          <pc:docMk/>
          <pc:sldMk cId="3569784783" sldId="819"/>
        </pc:sldMkLst>
        <pc:spChg chg="mod">
          <ac:chgData name="Kamile Walker" userId="S::kamiwalker@churchofjesuschrist.org::a6eb77e7-33bd-4c57-a3cf-538d131ebd75" providerId="AD" clId="Web-{A399141D-54F9-1B4B-7C25-6627CD23C3DC}" dt="2023-08-07T18:46:10.620" v="102" actId="14100"/>
          <ac:spMkLst>
            <pc:docMk/>
            <pc:sldMk cId="3569784783" sldId="819"/>
            <ac:spMk id="28" creationId="{2DF252B8-74CF-F44D-9C66-D414C0B370E9}"/>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A399141D-54F9-1B4B-7C25-6627CD23C3DC}" dt="2023-08-07T18:46:04.838" v="101" actId="20577"/>
              <pc2:cmMkLst xmlns:pc2="http://schemas.microsoft.com/office/powerpoint/2019/9/main/command">
                <pc:docMk/>
                <pc:sldMk cId="3569784783" sldId="819"/>
                <pc2:cmMk id="{55863042-5F70-4DDA-9F15-5C366CCBD40D}"/>
              </pc2:cmMkLst>
            </pc226:cmChg>
          </p:ext>
        </pc:extLst>
      </pc:sldChg>
      <pc:sldChg chg="modSp modCm">
        <pc:chgData name="Kamile Walker" userId="S::kamiwalker@churchofjesuschrist.org::a6eb77e7-33bd-4c57-a3cf-538d131ebd75" providerId="AD" clId="Web-{A399141D-54F9-1B4B-7C25-6627CD23C3DC}" dt="2023-08-07T18:47:58.342" v="130" actId="20577"/>
        <pc:sldMkLst>
          <pc:docMk/>
          <pc:sldMk cId="1652657516" sldId="820"/>
        </pc:sldMkLst>
        <pc:spChg chg="mod">
          <ac:chgData name="Kamile Walker" userId="S::kamiwalker@churchofjesuschrist.org::a6eb77e7-33bd-4c57-a3cf-538d131ebd75" providerId="AD" clId="Web-{A399141D-54F9-1B4B-7C25-6627CD23C3DC}" dt="2023-08-07T18:47:58.342" v="130" actId="20577"/>
          <ac:spMkLst>
            <pc:docMk/>
            <pc:sldMk cId="1652657516" sldId="820"/>
            <ac:spMk id="16" creationId="{EFA081FD-9098-3A38-3995-211EBEBA672C}"/>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A399141D-54F9-1B4B-7C25-6627CD23C3DC}" dt="2023-08-07T18:47:58.342" v="130" actId="20577"/>
              <pc2:cmMkLst xmlns:pc2="http://schemas.microsoft.com/office/powerpoint/2019/9/main/command">
                <pc:docMk/>
                <pc:sldMk cId="1652657516" sldId="820"/>
                <pc2:cmMk id="{33F0B04F-654E-434C-9FFA-64128FAADCD4}"/>
              </pc2:cmMkLst>
            </pc226:cmChg>
          </p:ext>
        </pc:extLst>
      </pc:sldChg>
      <pc:sldChg chg="add del replId">
        <pc:chgData name="Kamile Walker" userId="S::kamiwalker@churchofjesuschrist.org::a6eb77e7-33bd-4c57-a3cf-538d131ebd75" providerId="AD" clId="Web-{A399141D-54F9-1B4B-7C25-6627CD23C3DC}" dt="2023-08-07T18:36:10.756" v="3"/>
        <pc:sldMkLst>
          <pc:docMk/>
          <pc:sldMk cId="2055620268" sldId="832"/>
        </pc:sldMkLst>
      </pc:sldChg>
      <pc:sldChg chg="add replId">
        <pc:chgData name="Kamile Walker" userId="S::kamiwalker@churchofjesuschrist.org::a6eb77e7-33bd-4c57-a3cf-538d131ebd75" providerId="AD" clId="Web-{A399141D-54F9-1B4B-7C25-6627CD23C3DC}" dt="2023-08-07T18:36:55.211" v="13"/>
        <pc:sldMkLst>
          <pc:docMk/>
          <pc:sldMk cId="2079432252" sldId="832"/>
        </pc:sldMkLst>
      </pc:sldChg>
      <pc:sldChg chg="addSp delSp modSp add replId modCm">
        <pc:chgData name="Kamile Walker" userId="S::kamiwalker@churchofjesuschrist.org::a6eb77e7-33bd-4c57-a3cf-538d131ebd75" providerId="AD" clId="Web-{A399141D-54F9-1B4B-7C25-6627CD23C3DC}" dt="2023-08-07T18:44:17.897" v="94" actId="14100"/>
        <pc:sldMkLst>
          <pc:docMk/>
          <pc:sldMk cId="3663336088" sldId="833"/>
        </pc:sldMkLst>
        <pc:spChg chg="add del">
          <ac:chgData name="Kamile Walker" userId="S::kamiwalker@churchofjesuschrist.org::a6eb77e7-33bd-4c57-a3cf-538d131ebd75" providerId="AD" clId="Web-{A399141D-54F9-1B4B-7C25-6627CD23C3DC}" dt="2023-08-07T18:40:22.999" v="61"/>
          <ac:spMkLst>
            <pc:docMk/>
            <pc:sldMk cId="3663336088" sldId="833"/>
            <ac:spMk id="3" creationId="{9F388787-A13B-292A-2EC9-04C62392684E}"/>
          </ac:spMkLst>
        </pc:spChg>
        <pc:spChg chg="mod">
          <ac:chgData name="Kamile Walker" userId="S::kamiwalker@churchofjesuschrist.org::a6eb77e7-33bd-4c57-a3cf-538d131ebd75" providerId="AD" clId="Web-{A399141D-54F9-1B4B-7C25-6627CD23C3DC}" dt="2023-08-07T18:44:17.897" v="94" actId="14100"/>
          <ac:spMkLst>
            <pc:docMk/>
            <pc:sldMk cId="3663336088" sldId="833"/>
            <ac:spMk id="5" creationId="{85A8D91E-9E2B-3E60-BC05-352ECCCECD29}"/>
          </ac:spMkLst>
        </pc:spChg>
        <pc:spChg chg="mod">
          <ac:chgData name="Kamile Walker" userId="S::kamiwalker@churchofjesuschrist.org::a6eb77e7-33bd-4c57-a3cf-538d131ebd75" providerId="AD" clId="Web-{A399141D-54F9-1B4B-7C25-6627CD23C3DC}" dt="2023-08-07T18:44:05.334" v="92" actId="14100"/>
          <ac:spMkLst>
            <pc:docMk/>
            <pc:sldMk cId="3663336088" sldId="833"/>
            <ac:spMk id="13" creationId="{9AFACB6B-8F7A-9A50-B603-C4DB727958A5}"/>
          </ac:spMkLst>
        </pc:spChg>
        <pc:spChg chg="mod">
          <ac:chgData name="Kamile Walker" userId="S::kamiwalker@churchofjesuschrist.org::a6eb77e7-33bd-4c57-a3cf-538d131ebd75" providerId="AD" clId="Web-{A399141D-54F9-1B4B-7C25-6627CD23C3DC}" dt="2023-08-07T18:39:54.185" v="57" actId="14100"/>
          <ac:spMkLst>
            <pc:docMk/>
            <pc:sldMk cId="3663336088" sldId="833"/>
            <ac:spMk id="34" creationId="{416DF48E-CA52-29A7-3796-A2B845252115}"/>
          </ac:spMkLst>
        </pc:spChg>
        <pc:extLst>
          <p:ext xmlns:p="http://schemas.openxmlformats.org/presentationml/2006/main" uri="{D6D511B9-2390-475A-947B-AFAB55BFBCF1}">
            <pc226:cmChg xmlns:pc226="http://schemas.microsoft.com/office/powerpoint/2022/06/main/command" chg="mod">
              <pc226:chgData name="Kamile Walker" userId="S::kamiwalker@churchofjesuschrist.org::a6eb77e7-33bd-4c57-a3cf-538d131ebd75" providerId="AD" clId="Web-{A399141D-54F9-1B4B-7C25-6627CD23C3DC}" dt="2023-08-07T18:43:40.068" v="88" actId="20577"/>
              <pc2:cmMkLst xmlns:pc2="http://schemas.microsoft.com/office/powerpoint/2019/9/main/command">
                <pc:docMk/>
                <pc:sldMk cId="3663336088" sldId="833"/>
                <pc2:cmMk id="{C9C4EC10-B413-49D2-A5AF-DC459B4448AD}"/>
              </pc2:cmMkLst>
            </pc226:cmChg>
            <pc226:cmChg xmlns:pc226="http://schemas.microsoft.com/office/powerpoint/2022/06/main/command" chg="mod">
              <pc226:chgData name="Kamile Walker" userId="S::kamiwalker@churchofjesuschrist.org::a6eb77e7-33bd-4c57-a3cf-538d131ebd75" providerId="AD" clId="Web-{A399141D-54F9-1B4B-7C25-6627CD23C3DC}" dt="2023-08-07T18:39:20.809" v="53" actId="20577"/>
              <pc2:cmMkLst xmlns:pc2="http://schemas.microsoft.com/office/powerpoint/2019/9/main/command">
                <pc:docMk/>
                <pc:sldMk cId="3663336088" sldId="833"/>
                <pc2:cmMk id="{FF296D48-F1F5-49F5-B3F4-6B12E4B02E77}"/>
              </pc2:cmMkLst>
            </pc226:cmChg>
            <pc226:cmChg xmlns:pc226="http://schemas.microsoft.com/office/powerpoint/2022/06/main/command" chg="mod">
              <pc226:chgData name="Kamile Walker" userId="S::kamiwalker@churchofjesuschrist.org::a6eb77e7-33bd-4c57-a3cf-538d131ebd75" providerId="AD" clId="Web-{A399141D-54F9-1B4B-7C25-6627CD23C3DC}" dt="2023-08-07T18:43:40.068" v="88" actId="20577"/>
              <pc2:cmMkLst xmlns:pc2="http://schemas.microsoft.com/office/powerpoint/2019/9/main/command">
                <pc:docMk/>
                <pc:sldMk cId="3663336088" sldId="833"/>
                <pc2:cmMk id="{73972A62-17E8-4707-96C5-A8FF7518B445}"/>
              </pc2:cmMkLst>
            </pc226:cmChg>
            <pc226:cmChg xmlns:pc226="http://schemas.microsoft.com/office/powerpoint/2022/06/main/command" chg="mod">
              <pc226:chgData name="Kamile Walker" userId="S::kamiwalker@churchofjesuschrist.org::a6eb77e7-33bd-4c57-a3cf-538d131ebd75" providerId="AD" clId="Web-{A399141D-54F9-1B4B-7C25-6627CD23C3DC}" dt="2023-08-07T18:43:40.068" v="88" actId="20577"/>
              <pc2:cmMkLst xmlns:pc2="http://schemas.microsoft.com/office/powerpoint/2019/9/main/command">
                <pc:docMk/>
                <pc:sldMk cId="3663336088" sldId="833"/>
                <pc2:cmMk id="{2711E57E-70C9-4220-A568-B8AA0651B1CB}"/>
              </pc2:cmMkLst>
            </pc226:cmChg>
            <pc226:cmChg xmlns:pc226="http://schemas.microsoft.com/office/powerpoint/2022/06/main/command" chg="mod">
              <pc226:chgData name="Kamile Walker" userId="S::kamiwalker@churchofjesuschrist.org::a6eb77e7-33bd-4c57-a3cf-538d131ebd75" providerId="AD" clId="Web-{A399141D-54F9-1B4B-7C25-6627CD23C3DC}" dt="2023-08-07T18:43:40.068" v="88" actId="20577"/>
              <pc2:cmMkLst xmlns:pc2="http://schemas.microsoft.com/office/powerpoint/2019/9/main/command">
                <pc:docMk/>
                <pc:sldMk cId="3663336088" sldId="833"/>
                <pc2:cmMk id="{AC8DDE85-3ADD-475D-9CD9-E7357E74E2D1}"/>
              </pc2:cmMkLst>
            </pc226:cmChg>
            <pc226:cmChg xmlns:pc226="http://schemas.microsoft.com/office/powerpoint/2022/06/main/command" chg="mod">
              <pc226:chgData name="Kamile Walker" userId="S::kamiwalker@churchofjesuschrist.org::a6eb77e7-33bd-4c57-a3cf-538d131ebd75" providerId="AD" clId="Web-{A399141D-54F9-1B4B-7C25-6627CD23C3DC}" dt="2023-08-07T18:43:40.068" v="88" actId="20577"/>
              <pc2:cmMkLst xmlns:pc2="http://schemas.microsoft.com/office/powerpoint/2019/9/main/command">
                <pc:docMk/>
                <pc:sldMk cId="3663336088" sldId="833"/>
                <pc2:cmMk id="{FA8864F9-6F83-4D13-A44B-122D2A8EBE26}"/>
              </pc2:cmMkLst>
            </pc226:cmChg>
          </p:ext>
        </pc:extLst>
      </pc:sldChg>
    </pc:docChg>
  </pc:docChgLst>
  <pc:docChgLst>
    <pc:chgData name="Krista Tripodi" userId="S::ktrip42@churchofjesuschrist.org::59ef1354-abc1-481b-9b04-be6e7a4c3fbd" providerId="AD" clId="Web-{3EE970C9-FD7F-4233-C9A6-6439793097BF}"/>
    <pc:docChg chg="">
      <pc:chgData name="Krista Tripodi" userId="S::ktrip42@churchofjesuschrist.org::59ef1354-abc1-481b-9b04-be6e7a4c3fbd" providerId="AD" clId="Web-{3EE970C9-FD7F-4233-C9A6-6439793097BF}" dt="2023-07-26T16:49:09.853" v="0"/>
      <pc:docMkLst>
        <pc:docMk/>
      </pc:docMkLst>
      <pc:sldChg chg="modCm">
        <pc:chgData name="Krista Tripodi" userId="S::ktrip42@churchofjesuschrist.org::59ef1354-abc1-481b-9b04-be6e7a4c3fbd" providerId="AD" clId="Web-{3EE970C9-FD7F-4233-C9A6-6439793097BF}" dt="2023-07-26T16:49:09.853" v="0"/>
        <pc:sldMkLst>
          <pc:docMk/>
          <pc:sldMk cId="3388375151" sldId="826"/>
        </pc:sldMkLst>
        <pc:extLst>
          <p:ext xmlns:p="http://schemas.openxmlformats.org/presentationml/2006/main" uri="{D6D511B9-2390-475A-947B-AFAB55BFBCF1}">
            <pc226:cmChg xmlns:pc226="http://schemas.microsoft.com/office/powerpoint/2022/06/main/command" chg="">
              <pc226:chgData name="Krista Tripodi" userId="S::ktrip42@churchofjesuschrist.org::59ef1354-abc1-481b-9b04-be6e7a4c3fbd" providerId="AD" clId="Web-{3EE970C9-FD7F-4233-C9A6-6439793097BF}" dt="2023-07-26T16:49:09.853" v="0"/>
              <pc2:cmMkLst xmlns:pc2="http://schemas.microsoft.com/office/powerpoint/2019/9/main/command">
                <pc:docMk/>
                <pc:sldMk cId="3388375151" sldId="826"/>
                <pc2:cmMk id="{8A8EAA6F-FF5B-4E2B-8753-08CA12D1EF8E}"/>
              </pc2:cmMkLst>
              <pc226:cmRplyChg chg="add">
                <pc226:chgData name="Krista Tripodi" userId="S::ktrip42@churchofjesuschrist.org::59ef1354-abc1-481b-9b04-be6e7a4c3fbd" providerId="AD" clId="Web-{3EE970C9-FD7F-4233-C9A6-6439793097BF}" dt="2023-07-26T16:49:09.853" v="0"/>
                <pc2:cmRplyMkLst xmlns:pc2="http://schemas.microsoft.com/office/powerpoint/2019/9/main/command">
                  <pc:docMk/>
                  <pc:sldMk cId="3388375151" sldId="826"/>
                  <pc2:cmMk id="{8A8EAA6F-FF5B-4E2B-8753-08CA12D1EF8E}"/>
                  <pc2:cmRplyMk id="{E3CF58B6-ED1D-45A1-B2F4-2D82151C5AC4}"/>
                </pc2:cmRplyMkLst>
              </pc226:cmRplyChg>
            </pc226:cmChg>
          </p:ext>
        </pc:extLst>
      </pc:sldChg>
    </pc:docChg>
  </pc:docChgLst>
  <pc:docChgLst>
    <pc:chgData name="Kamile Walker" userId="S::kamiwalker@churchofjesuschrist.org::a6eb77e7-33bd-4c57-a3cf-538d131ebd75" providerId="AD" clId="Web-{CD55742A-2E01-20ED-D8FA-CD8F263D840D}"/>
    <pc:docChg chg="modSld">
      <pc:chgData name="Kamile Walker" userId="S::kamiwalker@churchofjesuschrist.org::a6eb77e7-33bd-4c57-a3cf-538d131ebd75" providerId="AD" clId="Web-{CD55742A-2E01-20ED-D8FA-CD8F263D840D}" dt="2023-07-21T19:47:22.174" v="135"/>
      <pc:docMkLst>
        <pc:docMk/>
      </pc:docMkLst>
      <pc:sldChg chg="modSp">
        <pc:chgData name="Kamile Walker" userId="S::kamiwalker@churchofjesuschrist.org::a6eb77e7-33bd-4c57-a3cf-538d131ebd75" providerId="AD" clId="Web-{CD55742A-2E01-20ED-D8FA-CD8F263D840D}" dt="2023-07-21T19:21:17.279" v="88" actId="14100"/>
        <pc:sldMkLst>
          <pc:docMk/>
          <pc:sldMk cId="2524528356" sldId="274"/>
        </pc:sldMkLst>
        <pc:spChg chg="mod">
          <ac:chgData name="Kamile Walker" userId="S::kamiwalker@churchofjesuschrist.org::a6eb77e7-33bd-4c57-a3cf-538d131ebd75" providerId="AD" clId="Web-{CD55742A-2E01-20ED-D8FA-CD8F263D840D}" dt="2023-07-21T19:21:17.279" v="88" actId="14100"/>
          <ac:spMkLst>
            <pc:docMk/>
            <pc:sldMk cId="2524528356" sldId="274"/>
            <ac:spMk id="3" creationId="{CFBE50DD-0699-3A41-8108-252B9BA13CE9}"/>
          </ac:spMkLst>
        </pc:spChg>
        <pc:spChg chg="mod">
          <ac:chgData name="Kamile Walker" userId="S::kamiwalker@churchofjesuschrist.org::a6eb77e7-33bd-4c57-a3cf-538d131ebd75" providerId="AD" clId="Web-{CD55742A-2E01-20ED-D8FA-CD8F263D840D}" dt="2023-07-21T19:21:10.732" v="86" actId="14100"/>
          <ac:spMkLst>
            <pc:docMk/>
            <pc:sldMk cId="2524528356" sldId="274"/>
            <ac:spMk id="7" creationId="{2CD8C5D8-D759-764A-8FA6-7D35B2389EB1}"/>
          </ac:spMkLst>
        </pc:spChg>
        <pc:spChg chg="mod">
          <ac:chgData name="Kamile Walker" userId="S::kamiwalker@churchofjesuschrist.org::a6eb77e7-33bd-4c57-a3cf-538d131ebd75" providerId="AD" clId="Web-{CD55742A-2E01-20ED-D8FA-CD8F263D840D}" dt="2023-07-21T19:20:59.123" v="84" actId="1076"/>
          <ac:spMkLst>
            <pc:docMk/>
            <pc:sldMk cId="2524528356" sldId="274"/>
            <ac:spMk id="12" creationId="{C897D01E-E99D-A245-8A13-F45949F8C082}"/>
          </ac:spMkLst>
        </pc:spChg>
        <pc:picChg chg="mod">
          <ac:chgData name="Kamile Walker" userId="S::kamiwalker@churchofjesuschrist.org::a6eb77e7-33bd-4c57-a3cf-538d131ebd75" providerId="AD" clId="Web-{CD55742A-2E01-20ED-D8FA-CD8F263D840D}" dt="2023-07-21T19:21:03.763" v="85" actId="1076"/>
          <ac:picMkLst>
            <pc:docMk/>
            <pc:sldMk cId="2524528356" sldId="274"/>
            <ac:picMk id="11" creationId="{755A6251-C87C-3141-9F9F-CDEDD75626D6}"/>
          </ac:picMkLst>
        </pc:picChg>
      </pc:sldChg>
      <pc:sldChg chg="modSp">
        <pc:chgData name="Kamile Walker" userId="S::kamiwalker@churchofjesuschrist.org::a6eb77e7-33bd-4c57-a3cf-538d131ebd75" providerId="AD" clId="Web-{CD55742A-2E01-20ED-D8FA-CD8F263D840D}" dt="2023-07-21T19:21:47.952" v="93" actId="1076"/>
        <pc:sldMkLst>
          <pc:docMk/>
          <pc:sldMk cId="2661863841" sldId="659"/>
        </pc:sldMkLst>
        <pc:spChg chg="mod">
          <ac:chgData name="Kamile Walker" userId="S::kamiwalker@churchofjesuschrist.org::a6eb77e7-33bd-4c57-a3cf-538d131ebd75" providerId="AD" clId="Web-{CD55742A-2E01-20ED-D8FA-CD8F263D840D}" dt="2023-07-21T19:21:47.952" v="93" actId="1076"/>
          <ac:spMkLst>
            <pc:docMk/>
            <pc:sldMk cId="2661863841" sldId="659"/>
            <ac:spMk id="4" creationId="{B584CEB7-306D-9D4B-8A46-9E23D7A9C839}"/>
          </ac:spMkLst>
        </pc:spChg>
        <pc:spChg chg="mod">
          <ac:chgData name="Kamile Walker" userId="S::kamiwalker@churchofjesuschrist.org::a6eb77e7-33bd-4c57-a3cf-538d131ebd75" providerId="AD" clId="Web-{CD55742A-2E01-20ED-D8FA-CD8F263D840D}" dt="2023-07-21T19:21:45.296" v="92" actId="1076"/>
          <ac:spMkLst>
            <pc:docMk/>
            <pc:sldMk cId="2661863841" sldId="659"/>
            <ac:spMk id="7" creationId="{19BA7E76-E466-9240-A419-49D1B14B079B}"/>
          </ac:spMkLst>
        </pc:spChg>
      </pc:sldChg>
      <pc:sldChg chg="modSp">
        <pc:chgData name="Kamile Walker" userId="S::kamiwalker@churchofjesuschrist.org::a6eb77e7-33bd-4c57-a3cf-538d131ebd75" providerId="AD" clId="Web-{CD55742A-2E01-20ED-D8FA-CD8F263D840D}" dt="2023-07-21T19:21:56.374" v="95" actId="1076"/>
        <pc:sldMkLst>
          <pc:docMk/>
          <pc:sldMk cId="2180367955" sldId="660"/>
        </pc:sldMkLst>
        <pc:spChg chg="mod">
          <ac:chgData name="Kamile Walker" userId="S::kamiwalker@churchofjesuschrist.org::a6eb77e7-33bd-4c57-a3cf-538d131ebd75" providerId="AD" clId="Web-{CD55742A-2E01-20ED-D8FA-CD8F263D840D}" dt="2023-07-21T19:21:56.374" v="95" actId="1076"/>
          <ac:spMkLst>
            <pc:docMk/>
            <pc:sldMk cId="2180367955" sldId="660"/>
            <ac:spMk id="8" creationId="{024E6555-4F67-0341-8758-449993CE3712}"/>
          </ac:spMkLst>
        </pc:spChg>
      </pc:sldChg>
      <pc:sldChg chg="modSp">
        <pc:chgData name="Kamile Walker" userId="S::kamiwalker@churchofjesuschrist.org::a6eb77e7-33bd-4c57-a3cf-538d131ebd75" providerId="AD" clId="Web-{CD55742A-2E01-20ED-D8FA-CD8F263D840D}" dt="2023-07-21T19:21:32.264" v="90" actId="1076"/>
        <pc:sldMkLst>
          <pc:docMk/>
          <pc:sldMk cId="1564383633" sldId="709"/>
        </pc:sldMkLst>
        <pc:spChg chg="mod">
          <ac:chgData name="Kamile Walker" userId="S::kamiwalker@churchofjesuschrist.org::a6eb77e7-33bd-4c57-a3cf-538d131ebd75" providerId="AD" clId="Web-{CD55742A-2E01-20ED-D8FA-CD8F263D840D}" dt="2023-07-21T19:21:32.264" v="90" actId="1076"/>
          <ac:spMkLst>
            <pc:docMk/>
            <pc:sldMk cId="1564383633" sldId="709"/>
            <ac:spMk id="7" creationId="{298BE645-7BD3-584B-967F-C6BFDCFFF150}"/>
          </ac:spMkLst>
        </pc:spChg>
      </pc:sldChg>
      <pc:sldChg chg="modSp">
        <pc:chgData name="Kamile Walker" userId="S::kamiwalker@churchofjesuschrist.org::a6eb77e7-33bd-4c57-a3cf-538d131ebd75" providerId="AD" clId="Web-{CD55742A-2E01-20ED-D8FA-CD8F263D840D}" dt="2023-07-21T19:20:43.482" v="82" actId="1076"/>
        <pc:sldMkLst>
          <pc:docMk/>
          <pc:sldMk cId="3926244226" sldId="711"/>
        </pc:sldMkLst>
        <pc:spChg chg="mod">
          <ac:chgData name="Kamile Walker" userId="S::kamiwalker@churchofjesuschrist.org::a6eb77e7-33bd-4c57-a3cf-538d131ebd75" providerId="AD" clId="Web-{CD55742A-2E01-20ED-D8FA-CD8F263D840D}" dt="2023-07-21T19:20:43.482" v="82" actId="1076"/>
          <ac:spMkLst>
            <pc:docMk/>
            <pc:sldMk cId="3926244226" sldId="711"/>
            <ac:spMk id="7" creationId="{298BE645-7BD3-584B-967F-C6BFDCFFF150}"/>
          </ac:spMkLst>
        </pc:spChg>
      </pc:sldChg>
      <pc:sldChg chg="addSp delSp modSp">
        <pc:chgData name="Kamile Walker" userId="S::kamiwalker@churchofjesuschrist.org::a6eb77e7-33bd-4c57-a3cf-538d131ebd75" providerId="AD" clId="Web-{CD55742A-2E01-20ED-D8FA-CD8F263D840D}" dt="2023-07-21T19:37:24.623" v="134" actId="1076"/>
        <pc:sldMkLst>
          <pc:docMk/>
          <pc:sldMk cId="3051388098" sldId="766"/>
        </pc:sldMkLst>
        <pc:picChg chg="add del mod">
          <ac:chgData name="Kamile Walker" userId="S::kamiwalker@churchofjesuschrist.org::a6eb77e7-33bd-4c57-a3cf-538d131ebd75" providerId="AD" clId="Web-{CD55742A-2E01-20ED-D8FA-CD8F263D840D}" dt="2023-07-21T19:37:24.623" v="134" actId="1076"/>
          <ac:picMkLst>
            <pc:docMk/>
            <pc:sldMk cId="3051388098" sldId="766"/>
            <ac:picMk id="1026" creationId="{DE5DFED8-D98A-5E4C-A3FB-FF0EBB33E8D0}"/>
          </ac:picMkLst>
        </pc:picChg>
      </pc:sldChg>
      <pc:sldChg chg="modSp">
        <pc:chgData name="Kamile Walker" userId="S::kamiwalker@churchofjesuschrist.org::a6eb77e7-33bd-4c57-a3cf-538d131ebd75" providerId="AD" clId="Web-{CD55742A-2E01-20ED-D8FA-CD8F263D840D}" dt="2023-07-21T19:23:06.611" v="109" actId="1076"/>
        <pc:sldMkLst>
          <pc:docMk/>
          <pc:sldMk cId="3072156505" sldId="768"/>
        </pc:sldMkLst>
        <pc:spChg chg="mod">
          <ac:chgData name="Kamile Walker" userId="S::kamiwalker@churchofjesuschrist.org::a6eb77e7-33bd-4c57-a3cf-538d131ebd75" providerId="AD" clId="Web-{CD55742A-2E01-20ED-D8FA-CD8F263D840D}" dt="2023-07-21T19:22:23.313" v="99" actId="1076"/>
          <ac:spMkLst>
            <pc:docMk/>
            <pc:sldMk cId="3072156505" sldId="768"/>
            <ac:spMk id="3" creationId="{D29BDC45-E8FF-3C47-9619-A51C86E2259F}"/>
          </ac:spMkLst>
        </pc:spChg>
        <pc:spChg chg="mod">
          <ac:chgData name="Kamile Walker" userId="S::kamiwalker@churchofjesuschrist.org::a6eb77e7-33bd-4c57-a3cf-538d131ebd75" providerId="AD" clId="Web-{CD55742A-2E01-20ED-D8FA-CD8F263D840D}" dt="2023-07-21T19:22:55.798" v="105" actId="1076"/>
          <ac:spMkLst>
            <pc:docMk/>
            <pc:sldMk cId="3072156505" sldId="768"/>
            <ac:spMk id="17" creationId="{30BBF45B-756D-2663-3D20-DC7F4904A854}"/>
          </ac:spMkLst>
        </pc:spChg>
        <pc:spChg chg="mod">
          <ac:chgData name="Kamile Walker" userId="S::kamiwalker@churchofjesuschrist.org::a6eb77e7-33bd-4c57-a3cf-538d131ebd75" providerId="AD" clId="Web-{CD55742A-2E01-20ED-D8FA-CD8F263D840D}" dt="2023-07-21T19:23:06.611" v="109" actId="1076"/>
          <ac:spMkLst>
            <pc:docMk/>
            <pc:sldMk cId="3072156505" sldId="768"/>
            <ac:spMk id="31" creationId="{CE6A8DC2-A2DE-657D-9DFC-C4720DE07321}"/>
          </ac:spMkLst>
        </pc:spChg>
        <pc:spChg chg="mod">
          <ac:chgData name="Kamile Walker" userId="S::kamiwalker@churchofjesuschrist.org::a6eb77e7-33bd-4c57-a3cf-538d131ebd75" providerId="AD" clId="Web-{CD55742A-2E01-20ED-D8FA-CD8F263D840D}" dt="2023-07-21T19:23:01.689" v="107" actId="1076"/>
          <ac:spMkLst>
            <pc:docMk/>
            <pc:sldMk cId="3072156505" sldId="768"/>
            <ac:spMk id="32" creationId="{B2BF4912-441D-3A95-0717-2E3D95E4072A}"/>
          </ac:spMkLst>
        </pc:spChg>
        <pc:picChg chg="mod">
          <ac:chgData name="Kamile Walker" userId="S::kamiwalker@churchofjesuschrist.org::a6eb77e7-33bd-4c57-a3cf-538d131ebd75" providerId="AD" clId="Web-{CD55742A-2E01-20ED-D8FA-CD8F263D840D}" dt="2023-07-21T19:22:55.798" v="104" actId="1076"/>
          <ac:picMkLst>
            <pc:docMk/>
            <pc:sldMk cId="3072156505" sldId="768"/>
            <ac:picMk id="13" creationId="{B91B2496-EC52-45F4-08D6-0ADC0A2ABE52}"/>
          </ac:picMkLst>
        </pc:picChg>
        <pc:picChg chg="mod">
          <ac:chgData name="Kamile Walker" userId="S::kamiwalker@churchofjesuschrist.org::a6eb77e7-33bd-4c57-a3cf-538d131ebd75" providerId="AD" clId="Web-{CD55742A-2E01-20ED-D8FA-CD8F263D840D}" dt="2023-07-21T19:23:01.677" v="106" actId="1076"/>
          <ac:picMkLst>
            <pc:docMk/>
            <pc:sldMk cId="3072156505" sldId="768"/>
            <ac:picMk id="27" creationId="{4BAF6CAB-4705-4731-9003-F1DFBA8F2242}"/>
          </ac:picMkLst>
        </pc:picChg>
        <pc:picChg chg="mod">
          <ac:chgData name="Kamile Walker" userId="S::kamiwalker@churchofjesuschrist.org::a6eb77e7-33bd-4c57-a3cf-538d131ebd75" providerId="AD" clId="Web-{CD55742A-2E01-20ED-D8FA-CD8F263D840D}" dt="2023-07-21T19:23:06.596" v="108" actId="1076"/>
          <ac:picMkLst>
            <pc:docMk/>
            <pc:sldMk cId="3072156505" sldId="768"/>
            <ac:picMk id="29" creationId="{2B9A1C7A-A0F1-EB7C-34C1-1E59B2DCD9B4}"/>
          </ac:picMkLst>
        </pc:picChg>
      </pc:sldChg>
      <pc:sldChg chg="modSp">
        <pc:chgData name="Kamile Walker" userId="S::kamiwalker@churchofjesuschrist.org::a6eb77e7-33bd-4c57-a3cf-538d131ebd75" providerId="AD" clId="Web-{CD55742A-2E01-20ED-D8FA-CD8F263D840D}" dt="2023-07-21T19:25:59.367" v="115"/>
        <pc:sldMkLst>
          <pc:docMk/>
          <pc:sldMk cId="29013491" sldId="769"/>
        </pc:sldMkLst>
        <pc:spChg chg="mod">
          <ac:chgData name="Kamile Walker" userId="S::kamiwalker@churchofjesuschrist.org::a6eb77e7-33bd-4c57-a3cf-538d131ebd75" providerId="AD" clId="Web-{CD55742A-2E01-20ED-D8FA-CD8F263D840D}" dt="2023-07-21T19:23:40.237" v="113" actId="1076"/>
          <ac:spMkLst>
            <pc:docMk/>
            <pc:sldMk cId="29013491" sldId="769"/>
            <ac:spMk id="3" creationId="{D8403070-DEEB-8143-B9ED-F146907EEFC3}"/>
          </ac:spMkLst>
        </pc:spChg>
        <pc:spChg chg="mod">
          <ac:chgData name="Kamile Walker" userId="S::kamiwalker@churchofjesuschrist.org::a6eb77e7-33bd-4c57-a3cf-538d131ebd75" providerId="AD" clId="Web-{CD55742A-2E01-20ED-D8FA-CD8F263D840D}" dt="2023-07-21T19:23:26.987" v="110" actId="14100"/>
          <ac:spMkLst>
            <pc:docMk/>
            <pc:sldMk cId="29013491" sldId="769"/>
            <ac:spMk id="5" creationId="{CD13F077-4AC6-394F-B59D-28A4A9055A36}"/>
          </ac:spMkLst>
        </pc:spChg>
        <pc:spChg chg="mod">
          <ac:chgData name="Kamile Walker" userId="S::kamiwalker@churchofjesuschrist.org::a6eb77e7-33bd-4c57-a3cf-538d131ebd75" providerId="AD" clId="Web-{CD55742A-2E01-20ED-D8FA-CD8F263D840D}" dt="2023-07-21T19:23:46.300" v="114" actId="1076"/>
          <ac:spMkLst>
            <pc:docMk/>
            <pc:sldMk cId="29013491" sldId="769"/>
            <ac:spMk id="10" creationId="{1C0FA216-8D3D-3047-8BAE-DA379674949C}"/>
          </ac:spMkLst>
        </pc:spChg>
        <pc:picChg chg="mod">
          <ac:chgData name="Kamile Walker" userId="S::kamiwalker@churchofjesuschrist.org::a6eb77e7-33bd-4c57-a3cf-538d131ebd75" providerId="AD" clId="Web-{CD55742A-2E01-20ED-D8FA-CD8F263D840D}" dt="2023-07-21T19:25:59.367" v="115"/>
          <ac:picMkLst>
            <pc:docMk/>
            <pc:sldMk cId="29013491" sldId="769"/>
            <ac:picMk id="9" creationId="{D09F6A7E-8767-AB5F-5259-DC7B083CF1FB}"/>
          </ac:picMkLst>
        </pc:picChg>
      </pc:sldChg>
      <pc:sldChg chg="modSp">
        <pc:chgData name="Kamile Walker" userId="S::kamiwalker@churchofjesuschrist.org::a6eb77e7-33bd-4c57-a3cf-538d131ebd75" providerId="AD" clId="Web-{CD55742A-2E01-20ED-D8FA-CD8F263D840D}" dt="2023-07-21T19:26:24.086" v="116"/>
        <pc:sldMkLst>
          <pc:docMk/>
          <pc:sldMk cId="812648092" sldId="770"/>
        </pc:sldMkLst>
        <pc:picChg chg="mod">
          <ac:chgData name="Kamile Walker" userId="S::kamiwalker@churchofjesuschrist.org::a6eb77e7-33bd-4c57-a3cf-538d131ebd75" providerId="AD" clId="Web-{CD55742A-2E01-20ED-D8FA-CD8F263D840D}" dt="2023-07-21T19:26:24.086" v="116"/>
          <ac:picMkLst>
            <pc:docMk/>
            <pc:sldMk cId="812648092" sldId="770"/>
            <ac:picMk id="5" creationId="{ECB04300-8F09-C9C4-403A-5B9435B1D669}"/>
          </ac:picMkLst>
        </pc:picChg>
      </pc:sldChg>
      <pc:sldChg chg="modSp">
        <pc:chgData name="Kamile Walker" userId="S::kamiwalker@churchofjesuschrist.org::a6eb77e7-33bd-4c57-a3cf-538d131ebd75" providerId="AD" clId="Web-{CD55742A-2E01-20ED-D8FA-CD8F263D840D}" dt="2023-07-21T19:17:51.351" v="63" actId="1076"/>
        <pc:sldMkLst>
          <pc:docMk/>
          <pc:sldMk cId="2999881190" sldId="788"/>
        </pc:sldMkLst>
        <pc:spChg chg="mod">
          <ac:chgData name="Kamile Walker" userId="S::kamiwalker@churchofjesuschrist.org::a6eb77e7-33bd-4c57-a3cf-538d131ebd75" providerId="AD" clId="Web-{CD55742A-2E01-20ED-D8FA-CD8F263D840D}" dt="2023-07-21T19:17:51.351" v="63" actId="1076"/>
          <ac:spMkLst>
            <pc:docMk/>
            <pc:sldMk cId="2999881190" sldId="788"/>
            <ac:spMk id="13" creationId="{E1815725-512E-9048-88FA-51D8CFFF78C2}"/>
          </ac:spMkLst>
        </pc:spChg>
      </pc:sldChg>
      <pc:sldChg chg="modSp">
        <pc:chgData name="Kamile Walker" userId="S::kamiwalker@churchofjesuschrist.org::a6eb77e7-33bd-4c57-a3cf-538d131ebd75" providerId="AD" clId="Web-{CD55742A-2E01-20ED-D8FA-CD8F263D840D}" dt="2023-07-21T19:07:40.565" v="5" actId="1076"/>
        <pc:sldMkLst>
          <pc:docMk/>
          <pc:sldMk cId="665768293" sldId="790"/>
        </pc:sldMkLst>
        <pc:spChg chg="mod">
          <ac:chgData name="Kamile Walker" userId="S::kamiwalker@churchofjesuschrist.org::a6eb77e7-33bd-4c57-a3cf-538d131ebd75" providerId="AD" clId="Web-{CD55742A-2E01-20ED-D8FA-CD8F263D840D}" dt="2023-07-21T19:07:35.753" v="4" actId="1076"/>
          <ac:spMkLst>
            <pc:docMk/>
            <pc:sldMk cId="665768293" sldId="790"/>
            <ac:spMk id="2" creationId="{7A1C276B-2A33-C049-AEF8-5AF88AD11664}"/>
          </ac:spMkLst>
        </pc:spChg>
        <pc:spChg chg="mod">
          <ac:chgData name="Kamile Walker" userId="S::kamiwalker@churchofjesuschrist.org::a6eb77e7-33bd-4c57-a3cf-538d131ebd75" providerId="AD" clId="Web-{CD55742A-2E01-20ED-D8FA-CD8F263D840D}" dt="2023-07-21T19:07:40.565" v="5" actId="1076"/>
          <ac:spMkLst>
            <pc:docMk/>
            <pc:sldMk cId="665768293" sldId="790"/>
            <ac:spMk id="3" creationId="{2198D0CB-A244-3645-93EF-5E47B40A5F95}"/>
          </ac:spMkLst>
        </pc:spChg>
      </pc:sldChg>
      <pc:sldChg chg="modSp">
        <pc:chgData name="Kamile Walker" userId="S::kamiwalker@churchofjesuschrist.org::a6eb77e7-33bd-4c57-a3cf-538d131ebd75" providerId="AD" clId="Web-{CD55742A-2E01-20ED-D8FA-CD8F263D840D}" dt="2023-07-21T19:07:55.457" v="7" actId="14100"/>
        <pc:sldMkLst>
          <pc:docMk/>
          <pc:sldMk cId="1019897426" sldId="793"/>
        </pc:sldMkLst>
        <pc:spChg chg="mod">
          <ac:chgData name="Kamile Walker" userId="S::kamiwalker@churchofjesuschrist.org::a6eb77e7-33bd-4c57-a3cf-538d131ebd75" providerId="AD" clId="Web-{CD55742A-2E01-20ED-D8FA-CD8F263D840D}" dt="2023-07-21T18:07:14.197" v="0" actId="1076"/>
          <ac:spMkLst>
            <pc:docMk/>
            <pc:sldMk cId="1019897426" sldId="793"/>
            <ac:spMk id="2" creationId="{7A1C276B-2A33-C049-AEF8-5AF88AD11664}"/>
          </ac:spMkLst>
        </pc:spChg>
        <pc:spChg chg="mod">
          <ac:chgData name="Kamile Walker" userId="S::kamiwalker@churchofjesuschrist.org::a6eb77e7-33bd-4c57-a3cf-538d131ebd75" providerId="AD" clId="Web-{CD55742A-2E01-20ED-D8FA-CD8F263D840D}" dt="2023-07-21T19:07:47.519" v="6" actId="14100"/>
          <ac:spMkLst>
            <pc:docMk/>
            <pc:sldMk cId="1019897426" sldId="793"/>
            <ac:spMk id="4" creationId="{F181B19D-8554-ED4C-8221-8D164BD2AE03}"/>
          </ac:spMkLst>
        </pc:spChg>
        <pc:spChg chg="mod">
          <ac:chgData name="Kamile Walker" userId="S::kamiwalker@churchofjesuschrist.org::a6eb77e7-33bd-4c57-a3cf-538d131ebd75" providerId="AD" clId="Web-{CD55742A-2E01-20ED-D8FA-CD8F263D840D}" dt="2023-07-21T19:07:55.457" v="7" actId="14100"/>
          <ac:spMkLst>
            <pc:docMk/>
            <pc:sldMk cId="1019897426" sldId="793"/>
            <ac:spMk id="5" creationId="{0335E6F8-EF19-6242-8508-519A043B3930}"/>
          </ac:spMkLst>
        </pc:spChg>
        <pc:picChg chg="mod">
          <ac:chgData name="Kamile Walker" userId="S::kamiwalker@churchofjesuschrist.org::a6eb77e7-33bd-4c57-a3cf-538d131ebd75" providerId="AD" clId="Web-{CD55742A-2E01-20ED-D8FA-CD8F263D840D}" dt="2023-07-21T18:07:29.010" v="1"/>
          <ac:picMkLst>
            <pc:docMk/>
            <pc:sldMk cId="1019897426" sldId="793"/>
            <ac:picMk id="18" creationId="{80F9482C-C2B7-6F9D-33C2-1D44B1310C81}"/>
          </ac:picMkLst>
        </pc:picChg>
      </pc:sldChg>
      <pc:sldChg chg="modSp">
        <pc:chgData name="Kamile Walker" userId="S::kamiwalker@churchofjesuschrist.org::a6eb77e7-33bd-4c57-a3cf-538d131ebd75" providerId="AD" clId="Web-{CD55742A-2E01-20ED-D8FA-CD8F263D840D}" dt="2023-07-21T19:08:12.363" v="10" actId="14100"/>
        <pc:sldMkLst>
          <pc:docMk/>
          <pc:sldMk cId="4270646571" sldId="797"/>
        </pc:sldMkLst>
        <pc:spChg chg="mod">
          <ac:chgData name="Kamile Walker" userId="S::kamiwalker@churchofjesuschrist.org::a6eb77e7-33bd-4c57-a3cf-538d131ebd75" providerId="AD" clId="Web-{CD55742A-2E01-20ED-D8FA-CD8F263D840D}" dt="2023-07-21T19:08:12.363" v="10" actId="14100"/>
          <ac:spMkLst>
            <pc:docMk/>
            <pc:sldMk cId="4270646571" sldId="797"/>
            <ac:spMk id="5" creationId="{7615F437-AACA-9175-406B-64C66D810847}"/>
          </ac:spMkLst>
        </pc:spChg>
        <pc:spChg chg="mod">
          <ac:chgData name="Kamile Walker" userId="S::kamiwalker@churchofjesuschrist.org::a6eb77e7-33bd-4c57-a3cf-538d131ebd75" providerId="AD" clId="Web-{CD55742A-2E01-20ED-D8FA-CD8F263D840D}" dt="2023-07-21T19:08:04.269" v="8" actId="1076"/>
          <ac:spMkLst>
            <pc:docMk/>
            <pc:sldMk cId="4270646571" sldId="797"/>
            <ac:spMk id="9" creationId="{BB15C4F1-E9E5-652F-3489-C6E81DA9DC88}"/>
          </ac:spMkLst>
        </pc:spChg>
      </pc:sldChg>
      <pc:sldChg chg="modSp">
        <pc:chgData name="Kamile Walker" userId="S::kamiwalker@churchofjesuschrist.org::a6eb77e7-33bd-4c57-a3cf-538d131ebd75" providerId="AD" clId="Web-{CD55742A-2E01-20ED-D8FA-CD8F263D840D}" dt="2023-07-21T19:20:29.794" v="80" actId="14100"/>
        <pc:sldMkLst>
          <pc:docMk/>
          <pc:sldMk cId="3193910333" sldId="801"/>
        </pc:sldMkLst>
        <pc:spChg chg="mod">
          <ac:chgData name="Kamile Walker" userId="S::kamiwalker@churchofjesuschrist.org::a6eb77e7-33bd-4c57-a3cf-538d131ebd75" providerId="AD" clId="Web-{CD55742A-2E01-20ED-D8FA-CD8F263D840D}" dt="2023-07-21T19:19:42.794" v="78" actId="14100"/>
          <ac:spMkLst>
            <pc:docMk/>
            <pc:sldMk cId="3193910333" sldId="801"/>
            <ac:spMk id="11" creationId="{E0A6B640-4DBB-934E-8C59-733B3773CBFA}"/>
          </ac:spMkLst>
        </pc:spChg>
        <pc:spChg chg="mod">
          <ac:chgData name="Kamile Walker" userId="S::kamiwalker@churchofjesuschrist.org::a6eb77e7-33bd-4c57-a3cf-538d131ebd75" providerId="AD" clId="Web-{CD55742A-2E01-20ED-D8FA-CD8F263D840D}" dt="2023-07-21T19:19:45.777" v="79" actId="1076"/>
          <ac:spMkLst>
            <pc:docMk/>
            <pc:sldMk cId="3193910333" sldId="801"/>
            <ac:spMk id="13" creationId="{E1815725-512E-9048-88FA-51D8CFFF78C2}"/>
          </ac:spMkLst>
        </pc:spChg>
        <pc:spChg chg="mod">
          <ac:chgData name="Kamile Walker" userId="S::kamiwalker@churchofjesuschrist.org::a6eb77e7-33bd-4c57-a3cf-538d131ebd75" providerId="AD" clId="Web-{CD55742A-2E01-20ED-D8FA-CD8F263D840D}" dt="2023-07-21T19:20:29.794" v="80" actId="14100"/>
          <ac:spMkLst>
            <pc:docMk/>
            <pc:sldMk cId="3193910333" sldId="801"/>
            <ac:spMk id="17" creationId="{F8C23890-11F5-564B-88D0-051E87283A37}"/>
          </ac:spMkLst>
        </pc:spChg>
      </pc:sldChg>
      <pc:sldChg chg="modSp">
        <pc:chgData name="Kamile Walker" userId="S::kamiwalker@churchofjesuschrist.org::a6eb77e7-33bd-4c57-a3cf-538d131ebd75" providerId="AD" clId="Web-{CD55742A-2E01-20ED-D8FA-CD8F263D840D}" dt="2023-07-21T19:09:02.459" v="19" actId="20577"/>
        <pc:sldMkLst>
          <pc:docMk/>
          <pc:sldMk cId="3075817669" sldId="805"/>
        </pc:sldMkLst>
        <pc:spChg chg="mod">
          <ac:chgData name="Kamile Walker" userId="S::kamiwalker@churchofjesuschrist.org::a6eb77e7-33bd-4c57-a3cf-538d131ebd75" providerId="AD" clId="Web-{CD55742A-2E01-20ED-D8FA-CD8F263D840D}" dt="2023-07-21T19:09:02.459" v="19" actId="20577"/>
          <ac:spMkLst>
            <pc:docMk/>
            <pc:sldMk cId="3075817669" sldId="805"/>
            <ac:spMk id="5" creationId="{85A8D91E-9E2B-3E60-BC05-352ECCCECD29}"/>
          </ac:spMkLst>
        </pc:spChg>
        <pc:spChg chg="mod">
          <ac:chgData name="Kamile Walker" userId="S::kamiwalker@churchofjesuschrist.org::a6eb77e7-33bd-4c57-a3cf-538d131ebd75" providerId="AD" clId="Web-{CD55742A-2E01-20ED-D8FA-CD8F263D840D}" dt="2023-07-21T19:08:33.567" v="14" actId="1076"/>
          <ac:spMkLst>
            <pc:docMk/>
            <pc:sldMk cId="3075817669" sldId="805"/>
            <ac:spMk id="22" creationId="{B0BAD8DB-C2EB-1BBC-245C-7102B156F40B}"/>
          </ac:spMkLst>
        </pc:spChg>
        <pc:spChg chg="mod">
          <ac:chgData name="Kamile Walker" userId="S::kamiwalker@churchofjesuschrist.org::a6eb77e7-33bd-4c57-a3cf-538d131ebd75" providerId="AD" clId="Web-{CD55742A-2E01-20ED-D8FA-CD8F263D840D}" dt="2023-07-21T19:08:42.130" v="15" actId="1076"/>
          <ac:spMkLst>
            <pc:docMk/>
            <pc:sldMk cId="3075817669" sldId="805"/>
            <ac:spMk id="24" creationId="{BEE7202F-449B-9086-3496-720E953F2781}"/>
          </ac:spMkLst>
        </pc:spChg>
      </pc:sldChg>
      <pc:sldChg chg="modSp">
        <pc:chgData name="Kamile Walker" userId="S::kamiwalker@churchofjesuschrist.org::a6eb77e7-33bd-4c57-a3cf-538d131ebd75" providerId="AD" clId="Web-{CD55742A-2E01-20ED-D8FA-CD8F263D840D}" dt="2023-07-21T19:19:25.682" v="73" actId="1076"/>
        <pc:sldMkLst>
          <pc:docMk/>
          <pc:sldMk cId="2626650125" sldId="808"/>
        </pc:sldMkLst>
        <pc:spChg chg="mod">
          <ac:chgData name="Kamile Walker" userId="S::kamiwalker@churchofjesuschrist.org::a6eb77e7-33bd-4c57-a3cf-538d131ebd75" providerId="AD" clId="Web-{CD55742A-2E01-20ED-D8FA-CD8F263D840D}" dt="2023-07-21T19:18:50.322" v="71" actId="1076"/>
          <ac:spMkLst>
            <pc:docMk/>
            <pc:sldMk cId="2626650125" sldId="808"/>
            <ac:spMk id="4" creationId="{A94374B5-F2B9-7340-A780-6E9CB520CA88}"/>
          </ac:spMkLst>
        </pc:spChg>
        <pc:spChg chg="mod">
          <ac:chgData name="Kamile Walker" userId="S::kamiwalker@churchofjesuschrist.org::a6eb77e7-33bd-4c57-a3cf-538d131ebd75" providerId="AD" clId="Web-{CD55742A-2E01-20ED-D8FA-CD8F263D840D}" dt="2023-07-21T19:19:25.682" v="73" actId="1076"/>
          <ac:spMkLst>
            <pc:docMk/>
            <pc:sldMk cId="2626650125" sldId="808"/>
            <ac:spMk id="6" creationId="{D4E20C81-273A-914E-0603-17C8EC006BC0}"/>
          </ac:spMkLst>
        </pc:spChg>
      </pc:sldChg>
      <pc:sldChg chg="modSp">
        <pc:chgData name="Kamile Walker" userId="S::kamiwalker@churchofjesuschrist.org::a6eb77e7-33bd-4c57-a3cf-538d131ebd75" providerId="AD" clId="Web-{CD55742A-2E01-20ED-D8FA-CD8F263D840D}" dt="2023-07-21T19:47:22.174" v="135"/>
        <pc:sldMkLst>
          <pc:docMk/>
          <pc:sldMk cId="1507861903" sldId="810"/>
        </pc:sldMkLst>
        <pc:picChg chg="mod">
          <ac:chgData name="Kamile Walker" userId="S::kamiwalker@churchofjesuschrist.org::a6eb77e7-33bd-4c57-a3cf-538d131ebd75" providerId="AD" clId="Web-{CD55742A-2E01-20ED-D8FA-CD8F263D840D}" dt="2023-07-21T19:47:22.174" v="135"/>
          <ac:picMkLst>
            <pc:docMk/>
            <pc:sldMk cId="1507861903" sldId="810"/>
            <ac:picMk id="3" creationId="{DD47FAD8-AD10-E57E-FBD1-C7CEB01A552A}"/>
          </ac:picMkLst>
        </pc:picChg>
      </pc:sldChg>
      <pc:sldChg chg="modSp">
        <pc:chgData name="Kamile Walker" userId="S::kamiwalker@churchofjesuschrist.org::a6eb77e7-33bd-4c57-a3cf-538d131ebd75" providerId="AD" clId="Web-{CD55742A-2E01-20ED-D8FA-CD8F263D840D}" dt="2023-07-21T19:17:43.960" v="62" actId="1076"/>
        <pc:sldMkLst>
          <pc:docMk/>
          <pc:sldMk cId="954176609" sldId="813"/>
        </pc:sldMkLst>
        <pc:spChg chg="mod">
          <ac:chgData name="Kamile Walker" userId="S::kamiwalker@churchofjesuschrist.org::a6eb77e7-33bd-4c57-a3cf-538d131ebd75" providerId="AD" clId="Web-{CD55742A-2E01-20ED-D8FA-CD8F263D840D}" dt="2023-07-21T19:17:43.960" v="62" actId="1076"/>
          <ac:spMkLst>
            <pc:docMk/>
            <pc:sldMk cId="954176609" sldId="813"/>
            <ac:spMk id="3" creationId="{82C6AD87-5175-74D0-47FC-6B7724DB7447}"/>
          </ac:spMkLst>
        </pc:spChg>
      </pc:sldChg>
      <pc:sldChg chg="modSp">
        <pc:chgData name="Kamile Walker" userId="S::kamiwalker@churchofjesuschrist.org::a6eb77e7-33bd-4c57-a3cf-538d131ebd75" providerId="AD" clId="Web-{CD55742A-2E01-20ED-D8FA-CD8F263D840D}" dt="2023-07-21T19:19:31.635" v="77" actId="1076"/>
        <pc:sldMkLst>
          <pc:docMk/>
          <pc:sldMk cId="1480508468" sldId="816"/>
        </pc:sldMkLst>
        <pc:spChg chg="mod">
          <ac:chgData name="Kamile Walker" userId="S::kamiwalker@churchofjesuschrist.org::a6eb77e7-33bd-4c57-a3cf-538d131ebd75" providerId="AD" clId="Web-{CD55742A-2E01-20ED-D8FA-CD8F263D840D}" dt="2023-07-21T19:19:31.635" v="77" actId="1076"/>
          <ac:spMkLst>
            <pc:docMk/>
            <pc:sldMk cId="1480508468" sldId="816"/>
            <ac:spMk id="7" creationId="{72D8B01B-E85A-CFCC-0B85-4D1CC7F40238}"/>
          </ac:spMkLst>
        </pc:spChg>
      </pc:sldChg>
      <pc:sldChg chg="modSp">
        <pc:chgData name="Kamile Walker" userId="S::kamiwalker@churchofjesuschrist.org::a6eb77e7-33bd-4c57-a3cf-538d131ebd75" providerId="AD" clId="Web-{CD55742A-2E01-20ED-D8FA-CD8F263D840D}" dt="2023-07-21T19:17:30.663" v="61" actId="20577"/>
        <pc:sldMkLst>
          <pc:docMk/>
          <pc:sldMk cId="3056659758" sldId="817"/>
        </pc:sldMkLst>
        <pc:spChg chg="mod">
          <ac:chgData name="Kamile Walker" userId="S::kamiwalker@churchofjesuschrist.org::a6eb77e7-33bd-4c57-a3cf-538d131ebd75" providerId="AD" clId="Web-{CD55742A-2E01-20ED-D8FA-CD8F263D840D}" dt="2023-07-21T19:17:30.663" v="61" actId="20577"/>
          <ac:spMkLst>
            <pc:docMk/>
            <pc:sldMk cId="3056659758" sldId="817"/>
            <ac:spMk id="5" creationId="{ED6886AA-EEE7-9E02-E4DF-0DAF0C60BD8A}"/>
          </ac:spMkLst>
        </pc:spChg>
        <pc:picChg chg="mod">
          <ac:chgData name="Kamile Walker" userId="S::kamiwalker@churchofjesuschrist.org::a6eb77e7-33bd-4c57-a3cf-538d131ebd75" providerId="AD" clId="Web-{CD55742A-2E01-20ED-D8FA-CD8F263D840D}" dt="2023-07-21T19:15:52.300" v="58" actId="1076"/>
          <ac:picMkLst>
            <pc:docMk/>
            <pc:sldMk cId="3056659758" sldId="817"/>
            <ac:picMk id="13" creationId="{65841166-D978-FF83-76B3-A422F435D720}"/>
          </ac:picMkLst>
        </pc:picChg>
      </pc:sldChg>
      <pc:sldChg chg="modSp">
        <pc:chgData name="Kamile Walker" userId="S::kamiwalker@churchofjesuschrist.org::a6eb77e7-33bd-4c57-a3cf-538d131ebd75" providerId="AD" clId="Web-{CD55742A-2E01-20ED-D8FA-CD8F263D840D}" dt="2023-07-21T19:13:27.780" v="33" actId="1076"/>
        <pc:sldMkLst>
          <pc:docMk/>
          <pc:sldMk cId="3569784783" sldId="819"/>
        </pc:sldMkLst>
        <pc:spChg chg="mod">
          <ac:chgData name="Kamile Walker" userId="S::kamiwalker@churchofjesuschrist.org::a6eb77e7-33bd-4c57-a3cf-538d131ebd75" providerId="AD" clId="Web-{CD55742A-2E01-20ED-D8FA-CD8F263D840D}" dt="2023-07-21T19:11:21.541" v="20" actId="1076"/>
          <ac:spMkLst>
            <pc:docMk/>
            <pc:sldMk cId="3569784783" sldId="819"/>
            <ac:spMk id="20" creationId="{16521770-80B6-B447-80F3-E433B45DFE28}"/>
          </ac:spMkLst>
        </pc:spChg>
        <pc:spChg chg="mod">
          <ac:chgData name="Kamile Walker" userId="S::kamiwalker@churchofjesuschrist.org::a6eb77e7-33bd-4c57-a3cf-538d131ebd75" providerId="AD" clId="Web-{CD55742A-2E01-20ED-D8FA-CD8F263D840D}" dt="2023-07-21T19:13:13.936" v="30" actId="1076"/>
          <ac:spMkLst>
            <pc:docMk/>
            <pc:sldMk cId="3569784783" sldId="819"/>
            <ac:spMk id="27" creationId="{061D94E2-836E-EE4F-AC2E-903DE5C55B97}"/>
          </ac:spMkLst>
        </pc:spChg>
        <pc:spChg chg="mod">
          <ac:chgData name="Kamile Walker" userId="S::kamiwalker@churchofjesuschrist.org::a6eb77e7-33bd-4c57-a3cf-538d131ebd75" providerId="AD" clId="Web-{CD55742A-2E01-20ED-D8FA-CD8F263D840D}" dt="2023-07-21T19:11:50.449" v="27" actId="1076"/>
          <ac:spMkLst>
            <pc:docMk/>
            <pc:sldMk cId="3569784783" sldId="819"/>
            <ac:spMk id="28" creationId="{2DF252B8-74CF-F44D-9C66-D414C0B370E9}"/>
          </ac:spMkLst>
        </pc:spChg>
        <pc:spChg chg="mod">
          <ac:chgData name="Kamile Walker" userId="S::kamiwalker@churchofjesuschrist.org::a6eb77e7-33bd-4c57-a3cf-538d131ebd75" providerId="AD" clId="Web-{CD55742A-2E01-20ED-D8FA-CD8F263D840D}" dt="2023-07-21T19:13:13.967" v="31" actId="1076"/>
          <ac:spMkLst>
            <pc:docMk/>
            <pc:sldMk cId="3569784783" sldId="819"/>
            <ac:spMk id="29" creationId="{CED74288-F993-2A4C-A717-1C6A7F535098}"/>
          </ac:spMkLst>
        </pc:spChg>
        <pc:picChg chg="mod">
          <ac:chgData name="Kamile Walker" userId="S::kamiwalker@churchofjesuschrist.org::a6eb77e7-33bd-4c57-a3cf-538d131ebd75" providerId="AD" clId="Web-{CD55742A-2E01-20ED-D8FA-CD8F263D840D}" dt="2023-07-21T19:13:24.686" v="32" actId="1076"/>
          <ac:picMkLst>
            <pc:docMk/>
            <pc:sldMk cId="3569784783" sldId="819"/>
            <ac:picMk id="15" creationId="{4751089D-F608-11C4-D7FE-8747798B7545}"/>
          </ac:picMkLst>
        </pc:picChg>
        <pc:picChg chg="mod">
          <ac:chgData name="Kamile Walker" userId="S::kamiwalker@churchofjesuschrist.org::a6eb77e7-33bd-4c57-a3cf-538d131ebd75" providerId="AD" clId="Web-{CD55742A-2E01-20ED-D8FA-CD8F263D840D}" dt="2023-07-21T19:11:50.449" v="26" actId="1076"/>
          <ac:picMkLst>
            <pc:docMk/>
            <pc:sldMk cId="3569784783" sldId="819"/>
            <ac:picMk id="17" creationId="{75FD2F3B-D7F7-621E-F062-E1CBD8B19254}"/>
          </ac:picMkLst>
        </pc:picChg>
        <pc:picChg chg="mod">
          <ac:chgData name="Kamile Walker" userId="S::kamiwalker@churchofjesuschrist.org::a6eb77e7-33bd-4c57-a3cf-538d131ebd75" providerId="AD" clId="Web-{CD55742A-2E01-20ED-D8FA-CD8F263D840D}" dt="2023-07-21T19:13:27.780" v="33" actId="1076"/>
          <ac:picMkLst>
            <pc:docMk/>
            <pc:sldMk cId="3569784783" sldId="819"/>
            <ac:picMk id="21" creationId="{35A9E54B-D6E0-9249-69DD-E5E96D4812DE}"/>
          </ac:picMkLst>
        </pc:picChg>
      </pc:sldChg>
      <pc:sldChg chg="modSp">
        <pc:chgData name="Kamile Walker" userId="S::kamiwalker@churchofjesuschrist.org::a6eb77e7-33bd-4c57-a3cf-538d131ebd75" providerId="AD" clId="Web-{CD55742A-2E01-20ED-D8FA-CD8F263D840D}" dt="2023-07-21T19:14:23.547" v="43" actId="1076"/>
        <pc:sldMkLst>
          <pc:docMk/>
          <pc:sldMk cId="1652657516" sldId="820"/>
        </pc:sldMkLst>
        <pc:spChg chg="mod">
          <ac:chgData name="Kamile Walker" userId="S::kamiwalker@churchofjesuschrist.org::a6eb77e7-33bd-4c57-a3cf-538d131ebd75" providerId="AD" clId="Web-{CD55742A-2E01-20ED-D8FA-CD8F263D840D}" dt="2023-07-21T19:14:08.672" v="39" actId="1076"/>
          <ac:spMkLst>
            <pc:docMk/>
            <pc:sldMk cId="1652657516" sldId="820"/>
            <ac:spMk id="15" creationId="{BE770EFB-6961-C091-C1B2-C551AA033ED2}"/>
          </ac:spMkLst>
        </pc:spChg>
        <pc:spChg chg="mod">
          <ac:chgData name="Kamile Walker" userId="S::kamiwalker@churchofjesuschrist.org::a6eb77e7-33bd-4c57-a3cf-538d131ebd75" providerId="AD" clId="Web-{CD55742A-2E01-20ED-D8FA-CD8F263D840D}" dt="2023-07-21T19:14:23.547" v="43" actId="1076"/>
          <ac:spMkLst>
            <pc:docMk/>
            <pc:sldMk cId="1652657516" sldId="820"/>
            <ac:spMk id="16" creationId="{EFA081FD-9098-3A38-3995-211EBEBA672C}"/>
          </ac:spMkLst>
        </pc:spChg>
        <pc:spChg chg="mod">
          <ac:chgData name="Kamile Walker" userId="S::kamiwalker@churchofjesuschrist.org::a6eb77e7-33bd-4c57-a3cf-538d131ebd75" providerId="AD" clId="Web-{CD55742A-2E01-20ED-D8FA-CD8F263D840D}" dt="2023-07-21T19:14:19.829" v="42" actId="1076"/>
          <ac:spMkLst>
            <pc:docMk/>
            <pc:sldMk cId="1652657516" sldId="820"/>
            <ac:spMk id="17" creationId="{971D078D-E770-9DDC-AAA4-4C5521326957}"/>
          </ac:spMkLst>
        </pc:spChg>
        <pc:spChg chg="mod">
          <ac:chgData name="Kamile Walker" userId="S::kamiwalker@churchofjesuschrist.org::a6eb77e7-33bd-4c57-a3cf-538d131ebd75" providerId="AD" clId="Web-{CD55742A-2E01-20ED-D8FA-CD8F263D840D}" dt="2023-07-21T19:13:50.171" v="35" actId="1076"/>
          <ac:spMkLst>
            <pc:docMk/>
            <pc:sldMk cId="1652657516" sldId="820"/>
            <ac:spMk id="18" creationId="{E5360234-A6FA-4FE7-3C0B-C21B407E304B}"/>
          </ac:spMkLst>
        </pc:spChg>
        <pc:picChg chg="mod">
          <ac:chgData name="Kamile Walker" userId="S::kamiwalker@churchofjesuschrist.org::a6eb77e7-33bd-4c57-a3cf-538d131ebd75" providerId="AD" clId="Web-{CD55742A-2E01-20ED-D8FA-CD8F263D840D}" dt="2023-07-21T19:14:08.672" v="38" actId="1076"/>
          <ac:picMkLst>
            <pc:docMk/>
            <pc:sldMk cId="1652657516" sldId="820"/>
            <ac:picMk id="12" creationId="{1F256DD5-6568-B3D0-1D02-411E0802F654}"/>
          </ac:picMkLst>
        </pc:picChg>
        <pc:picChg chg="mod">
          <ac:chgData name="Kamile Walker" userId="S::kamiwalker@churchofjesuschrist.org::a6eb77e7-33bd-4c57-a3cf-538d131ebd75" providerId="AD" clId="Web-{CD55742A-2E01-20ED-D8FA-CD8F263D840D}" dt="2023-07-21T19:14:01.547" v="36" actId="1076"/>
          <ac:picMkLst>
            <pc:docMk/>
            <pc:sldMk cId="1652657516" sldId="820"/>
            <ac:picMk id="13" creationId="{01A3FC43-DFC9-F444-9663-844F9993DB6C}"/>
          </ac:picMkLst>
        </pc:picChg>
        <pc:picChg chg="mod">
          <ac:chgData name="Kamile Walker" userId="S::kamiwalker@churchofjesuschrist.org::a6eb77e7-33bd-4c57-a3cf-538d131ebd75" providerId="AD" clId="Web-{CD55742A-2E01-20ED-D8FA-CD8F263D840D}" dt="2023-07-21T19:14:12.578" v="40" actId="1076"/>
          <ac:picMkLst>
            <pc:docMk/>
            <pc:sldMk cId="1652657516" sldId="820"/>
            <ac:picMk id="14" creationId="{6074E156-2D2C-C853-A71B-0706B2FAC757}"/>
          </ac:picMkLst>
        </pc:picChg>
      </pc:sldChg>
      <pc:sldChg chg="modSp">
        <pc:chgData name="Kamile Walker" userId="S::kamiwalker@churchofjesuschrist.org::a6eb77e7-33bd-4c57-a3cf-538d131ebd75" providerId="AD" clId="Web-{CD55742A-2E01-20ED-D8FA-CD8F263D840D}" dt="2023-07-21T19:14:58.283" v="50" actId="1076"/>
        <pc:sldMkLst>
          <pc:docMk/>
          <pc:sldMk cId="1753766256" sldId="821"/>
        </pc:sldMkLst>
        <pc:spChg chg="mod">
          <ac:chgData name="Kamile Walker" userId="S::kamiwalker@churchofjesuschrist.org::a6eb77e7-33bd-4c57-a3cf-538d131ebd75" providerId="AD" clId="Web-{CD55742A-2E01-20ED-D8FA-CD8F263D840D}" dt="2023-07-21T19:14:54.595" v="48" actId="1076"/>
          <ac:spMkLst>
            <pc:docMk/>
            <pc:sldMk cId="1753766256" sldId="821"/>
            <ac:spMk id="10" creationId="{8341FD57-6A23-9EAE-4BDD-CAC349729806}"/>
          </ac:spMkLst>
        </pc:spChg>
        <pc:spChg chg="mod">
          <ac:chgData name="Kamile Walker" userId="S::kamiwalker@churchofjesuschrist.org::a6eb77e7-33bd-4c57-a3cf-538d131ebd75" providerId="AD" clId="Web-{CD55742A-2E01-20ED-D8FA-CD8F263D840D}" dt="2023-07-21T19:14:58.283" v="50" actId="1076"/>
          <ac:spMkLst>
            <pc:docMk/>
            <pc:sldMk cId="1753766256" sldId="821"/>
            <ac:spMk id="12" creationId="{6C59D464-D814-8A2A-D041-1B74971D1040}"/>
          </ac:spMkLst>
        </pc:spChg>
        <pc:picChg chg="mod">
          <ac:chgData name="Kamile Walker" userId="S::kamiwalker@churchofjesuschrist.org::a6eb77e7-33bd-4c57-a3cf-538d131ebd75" providerId="AD" clId="Web-{CD55742A-2E01-20ED-D8FA-CD8F263D840D}" dt="2023-07-21T19:14:54.611" v="49" actId="1076"/>
          <ac:picMkLst>
            <pc:docMk/>
            <pc:sldMk cId="1753766256" sldId="821"/>
            <ac:picMk id="15" creationId="{8A83AB06-9D28-F46A-961D-EF3C41462677}"/>
          </ac:picMkLst>
        </pc:picChg>
      </pc:sldChg>
      <pc:sldChg chg="modSp">
        <pc:chgData name="Kamile Walker" userId="S::kamiwalker@churchofjesuschrist.org::a6eb77e7-33bd-4c57-a3cf-538d131ebd75" providerId="AD" clId="Web-{CD55742A-2E01-20ED-D8FA-CD8F263D840D}" dt="2023-07-21T19:14:42.501" v="47" actId="1076"/>
        <pc:sldMkLst>
          <pc:docMk/>
          <pc:sldMk cId="3699205717" sldId="823"/>
        </pc:sldMkLst>
        <pc:spChg chg="mod">
          <ac:chgData name="Kamile Walker" userId="S::kamiwalker@churchofjesuschrist.org::a6eb77e7-33bd-4c57-a3cf-538d131ebd75" providerId="AD" clId="Web-{CD55742A-2E01-20ED-D8FA-CD8F263D840D}" dt="2023-07-21T19:14:39.142" v="45" actId="1076"/>
          <ac:spMkLst>
            <pc:docMk/>
            <pc:sldMk cId="3699205717" sldId="823"/>
            <ac:spMk id="3" creationId="{81653977-D96C-313F-7524-62BCEB14BF90}"/>
          </ac:spMkLst>
        </pc:spChg>
        <pc:spChg chg="mod">
          <ac:chgData name="Kamile Walker" userId="S::kamiwalker@churchofjesuschrist.org::a6eb77e7-33bd-4c57-a3cf-538d131ebd75" providerId="AD" clId="Web-{CD55742A-2E01-20ED-D8FA-CD8F263D840D}" dt="2023-07-21T19:14:42.501" v="47" actId="1076"/>
          <ac:spMkLst>
            <pc:docMk/>
            <pc:sldMk cId="3699205717" sldId="823"/>
            <ac:spMk id="6" creationId="{03DB7BEA-64A9-8BC2-B0AF-DFD61C001233}"/>
          </ac:spMkLst>
        </pc:spChg>
        <pc:picChg chg="mod">
          <ac:chgData name="Kamile Walker" userId="S::kamiwalker@churchofjesuschrist.org::a6eb77e7-33bd-4c57-a3cf-538d131ebd75" providerId="AD" clId="Web-{CD55742A-2E01-20ED-D8FA-CD8F263D840D}" dt="2023-07-21T19:14:39.142" v="46" actId="1076"/>
          <ac:picMkLst>
            <pc:docMk/>
            <pc:sldMk cId="3699205717" sldId="823"/>
            <ac:picMk id="4" creationId="{8415BE5B-6B1E-8B91-BD83-964AF63C94B5}"/>
          </ac:picMkLst>
        </pc:picChg>
      </pc:sldChg>
      <pc:sldChg chg="modSp">
        <pc:chgData name="Kamile Walker" userId="S::kamiwalker@churchofjesuschrist.org::a6eb77e7-33bd-4c57-a3cf-538d131ebd75" providerId="AD" clId="Web-{CD55742A-2E01-20ED-D8FA-CD8F263D840D}" dt="2023-07-21T19:15:31.253" v="56"/>
        <pc:sldMkLst>
          <pc:docMk/>
          <pc:sldMk cId="3388375151" sldId="826"/>
        </pc:sldMkLst>
        <pc:spChg chg="ord">
          <ac:chgData name="Kamile Walker" userId="S::kamiwalker@churchofjesuschrist.org::a6eb77e7-33bd-4c57-a3cf-538d131ebd75" providerId="AD" clId="Web-{CD55742A-2E01-20ED-D8FA-CD8F263D840D}" dt="2023-07-21T19:15:27.237" v="55"/>
          <ac:spMkLst>
            <pc:docMk/>
            <pc:sldMk cId="3388375151" sldId="826"/>
            <ac:spMk id="3" creationId="{7C481D4E-3A9E-6581-F474-8B4DC57625E6}"/>
          </ac:spMkLst>
        </pc:spChg>
        <pc:spChg chg="mod">
          <ac:chgData name="Kamile Walker" userId="S::kamiwalker@churchofjesuschrist.org::a6eb77e7-33bd-4c57-a3cf-538d131ebd75" providerId="AD" clId="Web-{CD55742A-2E01-20ED-D8FA-CD8F263D840D}" dt="2023-07-21T19:15:17.627" v="52" actId="1076"/>
          <ac:spMkLst>
            <pc:docMk/>
            <pc:sldMk cId="3388375151" sldId="826"/>
            <ac:spMk id="5" creationId="{07B22FE7-E9AD-1295-89CE-0E95D93FF3AF}"/>
          </ac:spMkLst>
        </pc:spChg>
        <pc:spChg chg="mod">
          <ac:chgData name="Kamile Walker" userId="S::kamiwalker@churchofjesuschrist.org::a6eb77e7-33bd-4c57-a3cf-538d131ebd75" providerId="AD" clId="Web-{CD55742A-2E01-20ED-D8FA-CD8F263D840D}" dt="2023-07-21T19:15:21.080" v="54" actId="1076"/>
          <ac:spMkLst>
            <pc:docMk/>
            <pc:sldMk cId="3388375151" sldId="826"/>
            <ac:spMk id="6" creationId="{03DB7BEA-64A9-8BC2-B0AF-DFD61C001233}"/>
          </ac:spMkLst>
        </pc:spChg>
        <pc:picChg chg="ord">
          <ac:chgData name="Kamile Walker" userId="S::kamiwalker@churchofjesuschrist.org::a6eb77e7-33bd-4c57-a3cf-538d131ebd75" providerId="AD" clId="Web-{CD55742A-2E01-20ED-D8FA-CD8F263D840D}" dt="2023-07-21T19:15:31.253" v="56"/>
          <ac:picMkLst>
            <pc:docMk/>
            <pc:sldMk cId="3388375151" sldId="826"/>
            <ac:picMk id="4" creationId="{BAAC49E4-DAA1-2330-407C-E3EDD89D35FD}"/>
          </ac:picMkLst>
        </pc:picChg>
        <pc:picChg chg="mod">
          <ac:chgData name="Kamile Walker" userId="S::kamiwalker@churchofjesuschrist.org::a6eb77e7-33bd-4c57-a3cf-538d131ebd75" providerId="AD" clId="Web-{CD55742A-2E01-20ED-D8FA-CD8F263D840D}" dt="2023-07-21T19:15:17.627" v="53" actId="1076"/>
          <ac:picMkLst>
            <pc:docMk/>
            <pc:sldMk cId="3388375151" sldId="826"/>
            <ac:picMk id="8" creationId="{2E9F2A2E-C102-077C-0022-A9BC926B21A7}"/>
          </ac:picMkLst>
        </pc:picChg>
      </pc:sldChg>
      <pc:sldChg chg="modSp">
        <pc:chgData name="Kamile Walker" userId="S::kamiwalker@churchofjesuschrist.org::a6eb77e7-33bd-4c57-a3cf-538d131ebd75" providerId="AD" clId="Web-{CD55742A-2E01-20ED-D8FA-CD8F263D840D}" dt="2023-07-21T19:18:14.227" v="67" actId="1076"/>
        <pc:sldMkLst>
          <pc:docMk/>
          <pc:sldMk cId="787964137" sldId="827"/>
        </pc:sldMkLst>
        <pc:spChg chg="mod">
          <ac:chgData name="Kamile Walker" userId="S::kamiwalker@churchofjesuschrist.org::a6eb77e7-33bd-4c57-a3cf-538d131ebd75" providerId="AD" clId="Web-{CD55742A-2E01-20ED-D8FA-CD8F263D840D}" dt="2023-07-21T19:18:14.227" v="67" actId="1076"/>
          <ac:spMkLst>
            <pc:docMk/>
            <pc:sldMk cId="787964137" sldId="827"/>
            <ac:spMk id="6" creationId="{03DB7BEA-64A9-8BC2-B0AF-DFD61C001233}"/>
          </ac:spMkLst>
        </pc:spChg>
        <pc:spChg chg="mod">
          <ac:chgData name="Kamile Walker" userId="S::kamiwalker@churchofjesuschrist.org::a6eb77e7-33bd-4c57-a3cf-538d131ebd75" providerId="AD" clId="Web-{CD55742A-2E01-20ED-D8FA-CD8F263D840D}" dt="2023-07-21T19:18:05.867" v="64" actId="1076"/>
          <ac:spMkLst>
            <pc:docMk/>
            <pc:sldMk cId="787964137" sldId="827"/>
            <ac:spMk id="7" creationId="{3D54DC1D-795B-CFD9-404F-0F73FCE19CC1}"/>
          </ac:spMkLst>
        </pc:spChg>
        <pc:picChg chg="mod">
          <ac:chgData name="Kamile Walker" userId="S::kamiwalker@churchofjesuschrist.org::a6eb77e7-33bd-4c57-a3cf-538d131ebd75" providerId="AD" clId="Web-{CD55742A-2E01-20ED-D8FA-CD8F263D840D}" dt="2023-07-21T19:18:09.977" v="66" actId="1076"/>
          <ac:picMkLst>
            <pc:docMk/>
            <pc:sldMk cId="787964137" sldId="827"/>
            <ac:picMk id="4" creationId="{00116DBE-508C-B3C7-FB0C-B5908D6D3A55}"/>
          </ac:picMkLst>
        </pc:picChg>
      </pc:sldChg>
      <pc:sldChg chg="modSp">
        <pc:chgData name="Kamile Walker" userId="S::kamiwalker@churchofjesuschrist.org::a6eb77e7-33bd-4c57-a3cf-538d131ebd75" providerId="AD" clId="Web-{CD55742A-2E01-20ED-D8FA-CD8F263D840D}" dt="2023-07-21T19:15:11.393" v="51" actId="1076"/>
        <pc:sldMkLst>
          <pc:docMk/>
          <pc:sldMk cId="1913996765" sldId="828"/>
        </pc:sldMkLst>
        <pc:spChg chg="mod">
          <ac:chgData name="Kamile Walker" userId="S::kamiwalker@churchofjesuschrist.org::a6eb77e7-33bd-4c57-a3cf-538d131ebd75" providerId="AD" clId="Web-{CD55742A-2E01-20ED-D8FA-CD8F263D840D}" dt="2023-07-21T19:15:11.393" v="51" actId="1076"/>
          <ac:spMkLst>
            <pc:docMk/>
            <pc:sldMk cId="1913996765" sldId="828"/>
            <ac:spMk id="4" creationId="{A94374B5-F2B9-7340-A780-6E9CB520CA88}"/>
          </ac:spMkLst>
        </pc:spChg>
      </pc:sldChg>
      <pc:sldChg chg="modSp">
        <pc:chgData name="Kamile Walker" userId="S::kamiwalker@churchofjesuschrist.org::a6eb77e7-33bd-4c57-a3cf-538d131ebd75" providerId="AD" clId="Web-{CD55742A-2E01-20ED-D8FA-CD8F263D840D}" dt="2023-07-21T19:18:34.649" v="69" actId="1076"/>
        <pc:sldMkLst>
          <pc:docMk/>
          <pc:sldMk cId="2768504817" sldId="831"/>
        </pc:sldMkLst>
        <pc:spChg chg="mod">
          <ac:chgData name="Kamile Walker" userId="S::kamiwalker@churchofjesuschrist.org::a6eb77e7-33bd-4c57-a3cf-538d131ebd75" providerId="AD" clId="Web-{CD55742A-2E01-20ED-D8FA-CD8F263D840D}" dt="2023-07-21T19:18:34.649" v="69" actId="1076"/>
          <ac:spMkLst>
            <pc:docMk/>
            <pc:sldMk cId="2768504817" sldId="831"/>
            <ac:spMk id="7" creationId="{941A5633-AA7A-14B8-7713-9258B29BC47B}"/>
          </ac:spMkLst>
        </pc:spChg>
      </pc:sldChg>
    </pc:docChg>
  </pc:docChgLst>
  <pc:docChgLst>
    <pc:chgData name="Holden Orval d'Evegnee" userId="S::hdevegnee@churchofjesuschrist.org::2df88dc8-6c87-461a-8482-8d296f406766" providerId="AD" clId="Web-{524A6605-CDD1-B84A-B695-E23B6CA0F579}"/>
    <pc:docChg chg="modSld">
      <pc:chgData name="Holden Orval d'Evegnee" userId="S::hdevegnee@churchofjesuschrist.org::2df88dc8-6c87-461a-8482-8d296f406766" providerId="AD" clId="Web-{524A6605-CDD1-B84A-B695-E23B6CA0F579}" dt="2023-08-22T17:50:12.553" v="14" actId="20577"/>
      <pc:docMkLst>
        <pc:docMk/>
      </pc:docMkLst>
      <pc:sldChg chg="modSp">
        <pc:chgData name="Holden Orval d'Evegnee" userId="S::hdevegnee@churchofjesuschrist.org::2df88dc8-6c87-461a-8482-8d296f406766" providerId="AD" clId="Web-{524A6605-CDD1-B84A-B695-E23B6CA0F579}" dt="2023-08-22T17:50:12.553" v="14" actId="20577"/>
        <pc:sldMkLst>
          <pc:docMk/>
          <pc:sldMk cId="2999881190" sldId="788"/>
        </pc:sldMkLst>
        <pc:spChg chg="mod">
          <ac:chgData name="Holden Orval d'Evegnee" userId="S::hdevegnee@churchofjesuschrist.org::2df88dc8-6c87-461a-8482-8d296f406766" providerId="AD" clId="Web-{524A6605-CDD1-B84A-B695-E23B6CA0F579}" dt="2023-08-22T17:50:12.553" v="14" actId="20577"/>
          <ac:spMkLst>
            <pc:docMk/>
            <pc:sldMk cId="2999881190" sldId="788"/>
            <ac:spMk id="2" creationId="{29993704-1A86-D204-ACD4-3DE44E38FA59}"/>
          </ac:spMkLst>
        </pc:spChg>
        <pc:spChg chg="mod">
          <ac:chgData name="Holden Orval d'Evegnee" userId="S::hdevegnee@churchofjesuschrist.org::2df88dc8-6c87-461a-8482-8d296f406766" providerId="AD" clId="Web-{524A6605-CDD1-B84A-B695-E23B6CA0F579}" dt="2023-08-22T17:49:48.458" v="13" actId="20577"/>
          <ac:spMkLst>
            <pc:docMk/>
            <pc:sldMk cId="2999881190" sldId="788"/>
            <ac:spMk id="8" creationId="{C29326BC-4197-FE42-B254-B8E44181828A}"/>
          </ac:spMkLst>
        </pc:spChg>
      </pc:sldChg>
      <pc:sldChg chg="modSp">
        <pc:chgData name="Holden Orval d'Evegnee" userId="S::hdevegnee@churchofjesuschrist.org::2df88dc8-6c87-461a-8482-8d296f406766" providerId="AD" clId="Web-{524A6605-CDD1-B84A-B695-E23B6CA0F579}" dt="2023-08-22T17:49:14.473" v="2" actId="20577"/>
        <pc:sldMkLst>
          <pc:docMk/>
          <pc:sldMk cId="3056659758" sldId="817"/>
        </pc:sldMkLst>
        <pc:spChg chg="mod">
          <ac:chgData name="Holden Orval d'Evegnee" userId="S::hdevegnee@churchofjesuschrist.org::2df88dc8-6c87-461a-8482-8d296f406766" providerId="AD" clId="Web-{524A6605-CDD1-B84A-B695-E23B6CA0F579}" dt="2023-08-22T17:49:14.473" v="2" actId="20577"/>
          <ac:spMkLst>
            <pc:docMk/>
            <pc:sldMk cId="3056659758" sldId="817"/>
            <ac:spMk id="8" creationId="{5864B0E4-E93F-F74B-7825-C74E2D53DD66}"/>
          </ac:spMkLst>
        </pc:spChg>
      </pc:sldChg>
    </pc:docChg>
  </pc:docChgLst>
  <pc:docChgLst>
    <pc:chgData name="Holden Orval d'Evegnee" userId="S::hdevegnee@churchofjesuschrist.org::2df88dc8-6c87-461a-8482-8d296f406766" providerId="AD" clId="Web-{2A9AE38C-5B18-2303-4726-6AB88E7D01AC}"/>
    <pc:docChg chg="modSld">
      <pc:chgData name="Holden Orval d'Evegnee" userId="S::hdevegnee@churchofjesuschrist.org::2df88dc8-6c87-461a-8482-8d296f406766" providerId="AD" clId="Web-{2A9AE38C-5B18-2303-4726-6AB88E7D01AC}" dt="2023-07-25T22:58:11.073" v="88" actId="20577"/>
      <pc:docMkLst>
        <pc:docMk/>
      </pc:docMkLst>
      <pc:sldChg chg="modSp addCm modCm">
        <pc:chgData name="Holden Orval d'Evegnee" userId="S::hdevegnee@churchofjesuschrist.org::2df88dc8-6c87-461a-8482-8d296f406766" providerId="AD" clId="Web-{2A9AE38C-5B18-2303-4726-6AB88E7D01AC}" dt="2023-07-25T17:30:22.867" v="31" actId="20577"/>
        <pc:sldMkLst>
          <pc:docMk/>
          <pc:sldMk cId="4270646571" sldId="797"/>
        </pc:sldMkLst>
        <pc:spChg chg="mod">
          <ac:chgData name="Holden Orval d'Evegnee" userId="S::hdevegnee@churchofjesuschrist.org::2df88dc8-6c87-461a-8482-8d296f406766" providerId="AD" clId="Web-{2A9AE38C-5B18-2303-4726-6AB88E7D01AC}" dt="2023-07-25T17:30:22.867" v="31" actId="20577"/>
          <ac:spMkLst>
            <pc:docMk/>
            <pc:sldMk cId="4270646571" sldId="797"/>
            <ac:spMk id="5" creationId="{7615F437-AACA-9175-406B-64C66D810847}"/>
          </ac:spMkLst>
        </pc:spChg>
        <pc:extLst>
          <p:ext xmlns:p="http://schemas.openxmlformats.org/presentationml/2006/main" uri="{D6D511B9-2390-475A-947B-AFAB55BFBCF1}">
            <pc226:cmChg xmlns:pc226="http://schemas.microsoft.com/office/powerpoint/2022/06/main/command" chg="add">
              <pc226:chgData name="Holden Orval d'Evegnee" userId="S::hdevegnee@churchofjesuschrist.org::2df88dc8-6c87-461a-8482-8d296f406766" providerId="AD" clId="Web-{2A9AE38C-5B18-2303-4726-6AB88E7D01AC}" dt="2023-07-25T17:24:46.654" v="30"/>
              <pc2:cmMkLst xmlns:pc2="http://schemas.microsoft.com/office/powerpoint/2019/9/main/command">
                <pc:docMk/>
                <pc:sldMk cId="4270646571" sldId="797"/>
                <pc2:cmMk id="{64551C8F-1B6A-424B-9458-2EB1C2D7688A}"/>
              </pc2:cmMkLst>
            </pc226:cmChg>
            <pc226:cmChg xmlns:pc226="http://schemas.microsoft.com/office/powerpoint/2022/06/main/command" chg="mod">
              <pc226:chgData name="Holden Orval d'Evegnee" userId="S::hdevegnee@churchofjesuschrist.org::2df88dc8-6c87-461a-8482-8d296f406766" providerId="AD" clId="Web-{2A9AE38C-5B18-2303-4726-6AB88E7D01AC}" dt="2023-07-25T17:24:13.606" v="29" actId="20577"/>
              <pc2:cmMkLst xmlns:pc2="http://schemas.microsoft.com/office/powerpoint/2019/9/main/command">
                <pc:docMk/>
                <pc:sldMk cId="4270646571" sldId="797"/>
                <pc2:cmMk id="{ED4D19AF-282D-42BA-BF7D-38765AA3C730}"/>
              </pc2:cmMkLst>
            </pc226:cmChg>
            <pc226:cmChg xmlns:pc226="http://schemas.microsoft.com/office/powerpoint/2022/06/main/command" chg="add mod">
              <pc226:chgData name="Holden Orval d'Evegnee" userId="S::hdevegnee@churchofjesuschrist.org::2df88dc8-6c87-461a-8482-8d296f406766" providerId="AD" clId="Web-{2A9AE38C-5B18-2303-4726-6AB88E7D01AC}" dt="2023-07-25T17:24:13.606" v="29" actId="20577"/>
              <pc2:cmMkLst xmlns:pc2="http://schemas.microsoft.com/office/powerpoint/2019/9/main/command">
                <pc:docMk/>
                <pc:sldMk cId="4270646571" sldId="797"/>
                <pc2:cmMk id="{35A683BF-6617-49B9-8303-12A795E0741B}"/>
              </pc2:cmMkLst>
            </pc226:cmChg>
          </p:ext>
        </pc:extLst>
      </pc:sldChg>
      <pc:sldChg chg="modSp addCm modCm">
        <pc:chgData name="Holden Orval d'Evegnee" userId="S::hdevegnee@churchofjesuschrist.org::2df88dc8-6c87-461a-8482-8d296f406766" providerId="AD" clId="Web-{2A9AE38C-5B18-2303-4726-6AB88E7D01AC}" dt="2023-07-25T22:58:11.073" v="88" actId="20577"/>
        <pc:sldMkLst>
          <pc:docMk/>
          <pc:sldMk cId="3075817669" sldId="805"/>
        </pc:sldMkLst>
        <pc:spChg chg="mod">
          <ac:chgData name="Holden Orval d'Evegnee" userId="S::hdevegnee@churchofjesuschrist.org::2df88dc8-6c87-461a-8482-8d296f406766" providerId="AD" clId="Web-{2A9AE38C-5B18-2303-4726-6AB88E7D01AC}" dt="2023-07-25T22:58:11.073" v="88" actId="20577"/>
          <ac:spMkLst>
            <pc:docMk/>
            <pc:sldMk cId="3075817669" sldId="805"/>
            <ac:spMk id="5" creationId="{85A8D91E-9E2B-3E60-BC05-352ECCCECD29}"/>
          </ac:spMkLst>
        </pc:spChg>
        <pc:spChg chg="mod">
          <ac:chgData name="Holden Orval d'Evegnee" userId="S::hdevegnee@churchofjesuschrist.org::2df88dc8-6c87-461a-8482-8d296f406766" providerId="AD" clId="Web-{2A9AE38C-5B18-2303-4726-6AB88E7D01AC}" dt="2023-07-25T22:15:44.730" v="46" actId="1076"/>
          <ac:spMkLst>
            <pc:docMk/>
            <pc:sldMk cId="3075817669" sldId="805"/>
            <ac:spMk id="33" creationId="{5A89F0E6-E75F-91DF-0CE7-8B1C9BE587FF}"/>
          </ac:spMkLst>
        </pc:spChg>
        <pc:extLst>
          <p:ext xmlns:p="http://schemas.openxmlformats.org/presentationml/2006/main" uri="{D6D511B9-2390-475A-947B-AFAB55BFBCF1}">
            <pc226:cmChg xmlns:pc226="http://schemas.microsoft.com/office/powerpoint/2022/06/main/command" chg="add mod">
              <pc226:chgData name="Holden Orval d'Evegnee" userId="S::hdevegnee@churchofjesuschrist.org::2df88dc8-6c87-461a-8482-8d296f406766" providerId="AD" clId="Web-{2A9AE38C-5B18-2303-4726-6AB88E7D01AC}" dt="2023-07-25T22:57:20.572" v="87" actId="20577"/>
              <pc2:cmMkLst xmlns:pc2="http://schemas.microsoft.com/office/powerpoint/2019/9/main/command">
                <pc:docMk/>
                <pc:sldMk cId="3075817669" sldId="805"/>
                <pc2:cmMk id="{59C72F14-588C-499E-9780-44801F786EEB}"/>
              </pc2:cmMkLst>
            </pc226:cmChg>
            <pc226:cmChg xmlns:pc226="http://schemas.microsoft.com/office/powerpoint/2022/06/main/command" chg="add mod">
              <pc226:chgData name="Holden Orval d'Evegnee" userId="S::hdevegnee@churchofjesuschrist.org::2df88dc8-6c87-461a-8482-8d296f406766" providerId="AD" clId="Web-{2A9AE38C-5B18-2303-4726-6AB88E7D01AC}" dt="2023-07-25T22:57:20.572" v="87" actId="20577"/>
              <pc2:cmMkLst xmlns:pc2="http://schemas.microsoft.com/office/powerpoint/2019/9/main/command">
                <pc:docMk/>
                <pc:sldMk cId="3075817669" sldId="805"/>
                <pc2:cmMk id="{B692DD4F-9231-43E9-BEB0-97D6AD1B8E5F}"/>
              </pc2:cmMkLst>
            </pc226:cmChg>
            <pc226:cmChg xmlns:pc226="http://schemas.microsoft.com/office/powerpoint/2022/06/main/command" chg="add mod">
              <pc226:chgData name="Holden Orval d'Evegnee" userId="S::hdevegnee@churchofjesuschrist.org::2df88dc8-6c87-461a-8482-8d296f406766" providerId="AD" clId="Web-{2A9AE38C-5B18-2303-4726-6AB88E7D01AC}" dt="2023-07-25T22:57:20.572" v="87" actId="20577"/>
              <pc2:cmMkLst xmlns:pc2="http://schemas.microsoft.com/office/powerpoint/2019/9/main/command">
                <pc:docMk/>
                <pc:sldMk cId="3075817669" sldId="805"/>
                <pc2:cmMk id="{6CC11755-1675-425C-8F76-C8EE418CC94A}"/>
              </pc2:cmMkLst>
            </pc226:cmChg>
            <pc226:cmChg xmlns:pc226="http://schemas.microsoft.com/office/powerpoint/2022/06/main/command" chg="add mod">
              <pc226:chgData name="Holden Orval d'Evegnee" userId="S::hdevegnee@churchofjesuschrist.org::2df88dc8-6c87-461a-8482-8d296f406766" providerId="AD" clId="Web-{2A9AE38C-5B18-2303-4726-6AB88E7D01AC}" dt="2023-07-25T22:18:48.969" v="48"/>
              <pc2:cmMkLst xmlns:pc2="http://schemas.microsoft.com/office/powerpoint/2019/9/main/command">
                <pc:docMk/>
                <pc:sldMk cId="3075817669" sldId="805"/>
                <pc2:cmMk id="{1AA9CC5A-3759-418B-82B8-D230709326BA}"/>
              </pc2:cmMkLst>
            </pc226:cmChg>
            <pc226:cmChg xmlns:pc226="http://schemas.microsoft.com/office/powerpoint/2022/06/main/command" chg="add mod">
              <pc226:chgData name="Holden Orval d'Evegnee" userId="S::hdevegnee@churchofjesuschrist.org::2df88dc8-6c87-461a-8482-8d296f406766" providerId="AD" clId="Web-{2A9AE38C-5B18-2303-4726-6AB88E7D01AC}" dt="2023-07-25T22:57:20.572" v="87" actId="20577"/>
              <pc2:cmMkLst xmlns:pc2="http://schemas.microsoft.com/office/powerpoint/2019/9/main/command">
                <pc:docMk/>
                <pc:sldMk cId="3075817669" sldId="805"/>
                <pc2:cmMk id="{C112C86A-6C6F-4AEE-8615-08FF6DD73CA5}"/>
              </pc2:cmMkLst>
            </pc226:cmChg>
            <pc226:cmChg xmlns:pc226="http://schemas.microsoft.com/office/powerpoint/2022/06/main/command" chg="add">
              <pc226:chgData name="Holden Orval d'Evegnee" userId="S::hdevegnee@churchofjesuschrist.org::2df88dc8-6c87-461a-8482-8d296f406766" providerId="AD" clId="Web-{2A9AE38C-5B18-2303-4726-6AB88E7D01AC}" dt="2023-07-25T22:23:52.054" v="49"/>
              <pc2:cmMkLst xmlns:pc2="http://schemas.microsoft.com/office/powerpoint/2019/9/main/command">
                <pc:docMk/>
                <pc:sldMk cId="3075817669" sldId="805"/>
                <pc2:cmMk id="{92BBC972-896D-4C30-A15A-FEA84EADEE6C}"/>
              </pc2:cmMkLst>
            </pc226:cmChg>
            <pc226:cmChg xmlns:pc226="http://schemas.microsoft.com/office/powerpoint/2022/06/main/command" chg="add mod">
              <pc226:chgData name="Holden Orval d'Evegnee" userId="S::hdevegnee@churchofjesuschrist.org::2df88dc8-6c87-461a-8482-8d296f406766" providerId="AD" clId="Web-{2A9AE38C-5B18-2303-4726-6AB88E7D01AC}" dt="2023-07-25T22:57:20.572" v="87" actId="20577"/>
              <pc2:cmMkLst xmlns:pc2="http://schemas.microsoft.com/office/powerpoint/2019/9/main/command">
                <pc:docMk/>
                <pc:sldMk cId="3075817669" sldId="805"/>
                <pc2:cmMk id="{AE17AEE6-5854-461C-A376-51F62C24F42D}"/>
              </pc2:cmMkLst>
            </pc226:cmChg>
          </p:ext>
        </pc:extLst>
      </pc:sldChg>
      <pc:sldChg chg="modSp addCm modCm">
        <pc:chgData name="Holden Orval d'Evegnee" userId="S::hdevegnee@churchofjesuschrist.org::2df88dc8-6c87-461a-8482-8d296f406766" providerId="AD" clId="Web-{2A9AE38C-5B18-2303-4726-6AB88E7D01AC}" dt="2023-07-25T22:07:06.952" v="43"/>
        <pc:sldMkLst>
          <pc:docMk/>
          <pc:sldMk cId="1507861903" sldId="810"/>
        </pc:sldMkLst>
        <pc:spChg chg="mod">
          <ac:chgData name="Holden Orval d'Evegnee" userId="S::hdevegnee@churchofjesuschrist.org::2df88dc8-6c87-461a-8482-8d296f406766" providerId="AD" clId="Web-{2A9AE38C-5B18-2303-4726-6AB88E7D01AC}" dt="2023-07-25T17:32:36.924" v="36" actId="20577"/>
          <ac:spMkLst>
            <pc:docMk/>
            <pc:sldMk cId="1507861903" sldId="810"/>
            <ac:spMk id="15" creationId="{2180867A-7A2D-8F56-6F3F-4282B2D6FEA7}"/>
          </ac:spMkLst>
        </pc:spChg>
        <pc:spChg chg="mod">
          <ac:chgData name="Holden Orval d'Evegnee" userId="S::hdevegnee@churchofjesuschrist.org::2df88dc8-6c87-461a-8482-8d296f406766" providerId="AD" clId="Web-{2A9AE38C-5B18-2303-4726-6AB88E7D01AC}" dt="2023-07-25T17:36:44.431" v="39" actId="20577"/>
          <ac:spMkLst>
            <pc:docMk/>
            <pc:sldMk cId="1507861903" sldId="810"/>
            <ac:spMk id="16" creationId="{A4C92C61-E294-ECD3-90F3-9A44ECE5A61A}"/>
          </ac:spMkLst>
        </pc:spChg>
        <pc:extLst>
          <p:ext xmlns:p="http://schemas.openxmlformats.org/presentationml/2006/main" uri="{D6D511B9-2390-475A-947B-AFAB55BFBCF1}">
            <pc226:cmChg xmlns:pc226="http://schemas.microsoft.com/office/powerpoint/2022/06/main/command" chg="add">
              <pc226:chgData name="Holden Orval d'Evegnee" userId="S::hdevegnee@churchofjesuschrist.org::2df88dc8-6c87-461a-8482-8d296f406766" providerId="AD" clId="Web-{2A9AE38C-5B18-2303-4726-6AB88E7D01AC}" dt="2023-07-25T22:07:06.952" v="43"/>
              <pc2:cmMkLst xmlns:pc2="http://schemas.microsoft.com/office/powerpoint/2019/9/main/command">
                <pc:docMk/>
                <pc:sldMk cId="1507861903" sldId="810"/>
                <pc2:cmMk id="{C5985880-FF18-42D3-B8DD-B68C596BDBF9}"/>
              </pc2:cmMkLst>
              <pc226:cmRplyChg chg="add del">
                <pc226:chgData name="Holden Orval d'Evegnee" userId="S::hdevegnee@churchofjesuschrist.org::2df88dc8-6c87-461a-8482-8d296f406766" providerId="AD" clId="Web-{2A9AE38C-5B18-2303-4726-6AB88E7D01AC}" dt="2023-07-25T17:58:13.781" v="42"/>
                <pc2:cmRplyMkLst xmlns:pc2="http://schemas.microsoft.com/office/powerpoint/2019/9/main/command">
                  <pc:docMk/>
                  <pc:sldMk cId="1507861903" sldId="810"/>
                  <pc2:cmMk id="{C5985880-FF18-42D3-B8DD-B68C596BDBF9}"/>
                  <pc2:cmRplyMk id="{AAA7073F-7ACC-4874-8A7E-5CF6FBB4E39C}"/>
                </pc2:cmRplyMkLst>
              </pc226:cmRplyChg>
              <pc226:cmRplyChg chg="add">
                <pc226:chgData name="Holden Orval d'Evegnee" userId="S::hdevegnee@churchofjesuschrist.org::2df88dc8-6c87-461a-8482-8d296f406766" providerId="AD" clId="Web-{2A9AE38C-5B18-2303-4726-6AB88E7D01AC}" dt="2023-07-25T22:07:06.952" v="43"/>
                <pc2:cmRplyMkLst xmlns:pc2="http://schemas.microsoft.com/office/powerpoint/2019/9/main/command">
                  <pc:docMk/>
                  <pc:sldMk cId="1507861903" sldId="810"/>
                  <pc2:cmMk id="{C5985880-FF18-42D3-B8DD-B68C596BDBF9}"/>
                  <pc2:cmRplyMk id="{45B4F3C2-11B3-4DE8-B9DB-22AF17FDC816}"/>
                </pc2:cmRplyMkLst>
              </pc226:cmRplyChg>
            </pc226:cmChg>
          </p:ext>
        </pc:extLst>
      </pc:sldChg>
    </pc:docChg>
  </pc:docChgLst>
  <pc:docChgLst>
    <pc:chgData name="Brian T. Fogelberg" userId="S::btfogelberg@churchofjesuschrist.org::1f6ae3f9-19fc-49dd-9903-364b80dd3a35" providerId="AD" clId="Web-{1943638F-BACA-402F-9A71-26F5DC8D22B2}"/>
    <pc:docChg chg="modSld">
      <pc:chgData name="Brian T. Fogelberg" userId="S::btfogelberg@churchofjesuschrist.org::1f6ae3f9-19fc-49dd-9903-364b80dd3a35" providerId="AD" clId="Web-{1943638F-BACA-402F-9A71-26F5DC8D22B2}" dt="2023-08-10T14:23:46.518" v="5" actId="20577"/>
      <pc:docMkLst>
        <pc:docMk/>
      </pc:docMkLst>
      <pc:sldChg chg="modSp modCm">
        <pc:chgData name="Brian T. Fogelberg" userId="S::btfogelberg@churchofjesuschrist.org::1f6ae3f9-19fc-49dd-9903-364b80dd3a35" providerId="AD" clId="Web-{1943638F-BACA-402F-9A71-26F5DC8D22B2}" dt="2023-08-10T14:23:46.518" v="5" actId="20577"/>
        <pc:sldMkLst>
          <pc:docMk/>
          <pc:sldMk cId="3075817669" sldId="805"/>
        </pc:sldMkLst>
        <pc:spChg chg="mod">
          <ac:chgData name="Brian T. Fogelberg" userId="S::btfogelberg@churchofjesuschrist.org::1f6ae3f9-19fc-49dd-9903-364b80dd3a35" providerId="AD" clId="Web-{1943638F-BACA-402F-9A71-26F5DC8D22B2}" dt="2023-08-10T14:23:46.518" v="5" actId="20577"/>
          <ac:spMkLst>
            <pc:docMk/>
            <pc:sldMk cId="3075817669" sldId="805"/>
            <ac:spMk id="5" creationId="{85A8D91E-9E2B-3E60-BC05-352ECCCECD29}"/>
          </ac:spMkLst>
        </pc:spChg>
        <pc:extLst>
          <p:ext xmlns:p="http://schemas.openxmlformats.org/presentationml/2006/main" uri="{D6D511B9-2390-475A-947B-AFAB55BFBCF1}">
            <pc226:cmChg xmlns:pc226="http://schemas.microsoft.com/office/powerpoint/2022/06/main/command" chg="mod">
              <pc226:chgData name="Brian T. Fogelberg" userId="S::btfogelberg@churchofjesuschrist.org::1f6ae3f9-19fc-49dd-9903-364b80dd3a35" providerId="AD" clId="Web-{1943638F-BACA-402F-9A71-26F5DC8D22B2}" dt="2023-08-10T14:23:39.034" v="4" actId="20577"/>
              <pc2:cmMkLst xmlns:pc2="http://schemas.microsoft.com/office/powerpoint/2019/9/main/command">
                <pc:docMk/>
                <pc:sldMk cId="3075817669" sldId="805"/>
                <pc2:cmMk id="{59C72F14-588C-499E-9780-44801F786EEB}"/>
              </pc2:cmMkLst>
            </pc226:cmChg>
            <pc226:cmChg xmlns:pc226="http://schemas.microsoft.com/office/powerpoint/2022/06/main/command" chg="mod">
              <pc226:chgData name="Brian T. Fogelberg" userId="S::btfogelberg@churchofjesuschrist.org::1f6ae3f9-19fc-49dd-9903-364b80dd3a35" providerId="AD" clId="Web-{1943638F-BACA-402F-9A71-26F5DC8D22B2}" dt="2023-08-10T14:23:39.034" v="4" actId="20577"/>
              <pc2:cmMkLst xmlns:pc2="http://schemas.microsoft.com/office/powerpoint/2019/9/main/command">
                <pc:docMk/>
                <pc:sldMk cId="3075817669" sldId="805"/>
                <pc2:cmMk id="{B692DD4F-9231-43E9-BEB0-97D6AD1B8E5F}"/>
              </pc2:cmMkLst>
            </pc226:cmChg>
            <pc226:cmChg xmlns:pc226="http://schemas.microsoft.com/office/powerpoint/2022/06/main/command" chg="mod">
              <pc226:chgData name="Brian T. Fogelberg" userId="S::btfogelberg@churchofjesuschrist.org::1f6ae3f9-19fc-49dd-9903-364b80dd3a35" providerId="AD" clId="Web-{1943638F-BACA-402F-9A71-26F5DC8D22B2}" dt="2023-08-10T14:23:39.034" v="4" actId="20577"/>
              <pc2:cmMkLst xmlns:pc2="http://schemas.microsoft.com/office/powerpoint/2019/9/main/command">
                <pc:docMk/>
                <pc:sldMk cId="3075817669" sldId="805"/>
                <pc2:cmMk id="{6CC11755-1675-425C-8F76-C8EE418CC94A}"/>
              </pc2:cmMkLst>
            </pc226:cmChg>
            <pc226:cmChg xmlns:pc226="http://schemas.microsoft.com/office/powerpoint/2022/06/main/command" chg="mod">
              <pc226:chgData name="Brian T. Fogelberg" userId="S::btfogelberg@churchofjesuschrist.org::1f6ae3f9-19fc-49dd-9903-364b80dd3a35" providerId="AD" clId="Web-{1943638F-BACA-402F-9A71-26F5DC8D22B2}" dt="2023-08-10T14:23:39.034" v="4" actId="20577"/>
              <pc2:cmMkLst xmlns:pc2="http://schemas.microsoft.com/office/powerpoint/2019/9/main/command">
                <pc:docMk/>
                <pc:sldMk cId="3075817669" sldId="805"/>
                <pc2:cmMk id="{C112C86A-6C6F-4AEE-8615-08FF6DD73CA5}"/>
              </pc2:cmMkLst>
            </pc226:cmChg>
            <pc226:cmChg xmlns:pc226="http://schemas.microsoft.com/office/powerpoint/2022/06/main/command" chg="mod">
              <pc226:chgData name="Brian T. Fogelberg" userId="S::btfogelberg@churchofjesuschrist.org::1f6ae3f9-19fc-49dd-9903-364b80dd3a35" providerId="AD" clId="Web-{1943638F-BACA-402F-9A71-26F5DC8D22B2}" dt="2023-08-10T14:23:39.034" v="4" actId="20577"/>
              <pc2:cmMkLst xmlns:pc2="http://schemas.microsoft.com/office/powerpoint/2019/9/main/command">
                <pc:docMk/>
                <pc:sldMk cId="3075817669" sldId="805"/>
                <pc2:cmMk id="{AE17AEE6-5854-461C-A376-51F62C24F42D}"/>
              </pc2:cmMkLst>
            </pc226:cmChg>
          </p:ext>
        </pc:extLst>
      </pc:sldChg>
    </pc:docChg>
  </pc:docChgLst>
  <pc:docChgLst>
    <pc:chgData name="Brian T. Fogelberg" userId="1f6ae3f9-19fc-49dd-9903-364b80dd3a35" providerId="ADAL" clId="{1D7C7975-22BA-8E4A-A98B-6C3DA946D735}"/>
    <pc:docChg chg="undo custSel modSld">
      <pc:chgData name="Brian T. Fogelberg" userId="1f6ae3f9-19fc-49dd-9903-364b80dd3a35" providerId="ADAL" clId="{1D7C7975-22BA-8E4A-A98B-6C3DA946D735}" dt="2023-08-10T14:26:57.748" v="7" actId="1035"/>
      <pc:docMkLst>
        <pc:docMk/>
      </pc:docMkLst>
      <pc:sldChg chg="modSp mod modCm">
        <pc:chgData name="Brian T. Fogelberg" userId="1f6ae3f9-19fc-49dd-9903-364b80dd3a35" providerId="ADAL" clId="{1D7C7975-22BA-8E4A-A98B-6C3DA946D735}" dt="2023-08-10T14:26:57.748" v="7" actId="1035"/>
        <pc:sldMkLst>
          <pc:docMk/>
          <pc:sldMk cId="3075817669" sldId="805"/>
        </pc:sldMkLst>
        <pc:spChg chg="mod">
          <ac:chgData name="Brian T. Fogelberg" userId="1f6ae3f9-19fc-49dd-9903-364b80dd3a35" providerId="ADAL" clId="{1D7C7975-22BA-8E4A-A98B-6C3DA946D735}" dt="2023-08-10T14:26:57.748" v="7" actId="1035"/>
          <ac:spMkLst>
            <pc:docMk/>
            <pc:sldMk cId="3075817669" sldId="805"/>
            <ac:spMk id="2" creationId="{6CC1E558-4DAA-386B-1179-C0D0BB178547}"/>
          </ac:spMkLst>
        </pc:spChg>
        <pc:spChg chg="mod">
          <ac:chgData name="Brian T. Fogelberg" userId="1f6ae3f9-19fc-49dd-9903-364b80dd3a35" providerId="ADAL" clId="{1D7C7975-22BA-8E4A-A98B-6C3DA946D735}" dt="2023-08-10T14:26:57.748" v="7" actId="1035"/>
          <ac:spMkLst>
            <pc:docMk/>
            <pc:sldMk cId="3075817669" sldId="805"/>
            <ac:spMk id="5" creationId="{85A8D91E-9E2B-3E60-BC05-352ECCCECD29}"/>
          </ac:spMkLst>
        </pc:spChg>
        <pc:spChg chg="mod">
          <ac:chgData name="Brian T. Fogelberg" userId="1f6ae3f9-19fc-49dd-9903-364b80dd3a35" providerId="ADAL" clId="{1D7C7975-22BA-8E4A-A98B-6C3DA946D735}" dt="2023-08-10T14:26:53.252" v="2" actId="14100"/>
          <ac:spMkLst>
            <pc:docMk/>
            <pc:sldMk cId="3075817669" sldId="805"/>
            <ac:spMk id="13" creationId="{9AFACB6B-8F7A-9A50-B603-C4DB727958A5}"/>
          </ac:spMkLst>
        </pc:spChg>
        <pc:extLst>
          <p:ext xmlns:p="http://schemas.openxmlformats.org/presentationml/2006/main" uri="{D6D511B9-2390-475A-947B-AFAB55BFBCF1}">
            <pc226:cmChg xmlns:pc226="http://schemas.microsoft.com/office/powerpoint/2022/06/main/command" chg="mod">
              <pc226:chgData name="Brian T. Fogelberg" userId="1f6ae3f9-19fc-49dd-9903-364b80dd3a35" providerId="ADAL" clId="{1D7C7975-22BA-8E4A-A98B-6C3DA946D735}" dt="2023-08-10T14:26:44.564" v="1" actId="20577"/>
              <pc2:cmMkLst xmlns:pc2="http://schemas.microsoft.com/office/powerpoint/2019/9/main/command">
                <pc:docMk/>
                <pc:sldMk cId="3075817669" sldId="805"/>
                <pc2:cmMk id="{59C72F14-588C-499E-9780-44801F786EEB}"/>
              </pc2:cmMkLst>
            </pc226:cmChg>
            <pc226:cmChg xmlns:pc226="http://schemas.microsoft.com/office/powerpoint/2022/06/main/command" chg="mod">
              <pc226:chgData name="Brian T. Fogelberg" userId="1f6ae3f9-19fc-49dd-9903-364b80dd3a35" providerId="ADAL" clId="{1D7C7975-22BA-8E4A-A98B-6C3DA946D735}" dt="2023-08-10T14:26:44.564" v="1" actId="20577"/>
              <pc2:cmMkLst xmlns:pc2="http://schemas.microsoft.com/office/powerpoint/2019/9/main/command">
                <pc:docMk/>
                <pc:sldMk cId="3075817669" sldId="805"/>
                <pc2:cmMk id="{B692DD4F-9231-43E9-BEB0-97D6AD1B8E5F}"/>
              </pc2:cmMkLst>
            </pc226:cmChg>
            <pc226:cmChg xmlns:pc226="http://schemas.microsoft.com/office/powerpoint/2022/06/main/command" chg="mod">
              <pc226:chgData name="Brian T. Fogelberg" userId="1f6ae3f9-19fc-49dd-9903-364b80dd3a35" providerId="ADAL" clId="{1D7C7975-22BA-8E4A-A98B-6C3DA946D735}" dt="2023-08-10T14:26:44.564" v="1" actId="20577"/>
              <pc2:cmMkLst xmlns:pc2="http://schemas.microsoft.com/office/powerpoint/2019/9/main/command">
                <pc:docMk/>
                <pc:sldMk cId="3075817669" sldId="805"/>
                <pc2:cmMk id="{6CC11755-1675-425C-8F76-C8EE418CC94A}"/>
              </pc2:cmMkLst>
            </pc226:cmChg>
            <pc226:cmChg xmlns:pc226="http://schemas.microsoft.com/office/powerpoint/2022/06/main/command" chg="mod">
              <pc226:chgData name="Brian T. Fogelberg" userId="1f6ae3f9-19fc-49dd-9903-364b80dd3a35" providerId="ADAL" clId="{1D7C7975-22BA-8E4A-A98B-6C3DA946D735}" dt="2023-08-10T14:26:44.564" v="1" actId="20577"/>
              <pc2:cmMkLst xmlns:pc2="http://schemas.microsoft.com/office/powerpoint/2019/9/main/command">
                <pc:docMk/>
                <pc:sldMk cId="3075817669" sldId="805"/>
                <pc2:cmMk id="{C112C86A-6C6F-4AEE-8615-08FF6DD73CA5}"/>
              </pc2:cmMkLst>
            </pc226:cmChg>
            <pc226:cmChg xmlns:pc226="http://schemas.microsoft.com/office/powerpoint/2022/06/main/command" chg="mod">
              <pc226:chgData name="Brian T. Fogelberg" userId="1f6ae3f9-19fc-49dd-9903-364b80dd3a35" providerId="ADAL" clId="{1D7C7975-22BA-8E4A-A98B-6C3DA946D735}" dt="2023-08-10T14:26:44.564" v="1" actId="20577"/>
              <pc2:cmMkLst xmlns:pc2="http://schemas.microsoft.com/office/powerpoint/2019/9/main/command">
                <pc:docMk/>
                <pc:sldMk cId="3075817669" sldId="805"/>
                <pc2:cmMk id="{AE17AEE6-5854-461C-A376-51F62C24F42D}"/>
              </pc2:cmMkLst>
            </pc226:cmChg>
          </p:ext>
        </pc:extLst>
      </pc:sldChg>
    </pc:docChg>
  </pc:docChgLst>
  <pc:docChgLst>
    <pc:chgData name="Brian T. Fogelberg" userId="1f6ae3f9-19fc-49dd-9903-364b80dd3a35" providerId="ADAL" clId="{64449C1A-8A8A-D74E-924B-E0BF93F8A9B1}"/>
    <pc:docChg chg="modSld">
      <pc:chgData name="Brian T. Fogelberg" userId="1f6ae3f9-19fc-49dd-9903-364b80dd3a35" providerId="ADAL" clId="{64449C1A-8A8A-D74E-924B-E0BF93F8A9B1}" dt="2024-01-31T17:19:29.731" v="1" actId="20577"/>
      <pc:docMkLst>
        <pc:docMk/>
      </pc:docMkLst>
      <pc:sldChg chg="modSp mod modCm">
        <pc:chgData name="Brian T. Fogelberg" userId="1f6ae3f9-19fc-49dd-9903-364b80dd3a35" providerId="ADAL" clId="{64449C1A-8A8A-D74E-924B-E0BF93F8A9B1}" dt="2024-01-31T17:19:29.731" v="1" actId="20577"/>
        <pc:sldMkLst>
          <pc:docMk/>
          <pc:sldMk cId="4270646571" sldId="797"/>
        </pc:sldMkLst>
        <pc:spChg chg="mod">
          <ac:chgData name="Brian T. Fogelberg" userId="1f6ae3f9-19fc-49dd-9903-364b80dd3a35" providerId="ADAL" clId="{64449C1A-8A8A-D74E-924B-E0BF93F8A9B1}" dt="2024-01-31T17:19:29.731" v="1" actId="20577"/>
          <ac:spMkLst>
            <pc:docMk/>
            <pc:sldMk cId="4270646571" sldId="797"/>
            <ac:spMk id="5" creationId="{7615F437-AACA-9175-406B-64C66D810847}"/>
          </ac:spMkLst>
        </pc:spChg>
        <pc:extLst>
          <p:ext xmlns:p="http://schemas.openxmlformats.org/presentationml/2006/main" uri="{D6D511B9-2390-475A-947B-AFAB55BFBCF1}">
            <pc226:cmChg xmlns:pc226="http://schemas.microsoft.com/office/powerpoint/2022/06/main/command" chg="mod">
              <pc226:chgData name="Brian T. Fogelberg" userId="1f6ae3f9-19fc-49dd-9903-364b80dd3a35" providerId="ADAL" clId="{64449C1A-8A8A-D74E-924B-E0BF93F8A9B1}" dt="2024-01-31T17:19:29.731" v="1" actId="20577"/>
              <pc2:cmMkLst xmlns:pc2="http://schemas.microsoft.com/office/powerpoint/2019/9/main/command">
                <pc:docMk/>
                <pc:sldMk cId="4270646571" sldId="797"/>
                <pc2:cmMk id="{64551C8F-1B6A-424B-9458-2EB1C2D7688A}"/>
              </pc2:cmMkLst>
            </pc226:cmChg>
            <pc226:cmChg xmlns:pc226="http://schemas.microsoft.com/office/powerpoint/2022/06/main/command" chg="mod">
              <pc226:chgData name="Brian T. Fogelberg" userId="1f6ae3f9-19fc-49dd-9903-364b80dd3a35" providerId="ADAL" clId="{64449C1A-8A8A-D74E-924B-E0BF93F8A9B1}" dt="2024-01-31T17:19:29.731" v="1" actId="20577"/>
              <pc2:cmMkLst xmlns:pc2="http://schemas.microsoft.com/office/powerpoint/2019/9/main/command">
                <pc:docMk/>
                <pc:sldMk cId="4270646571" sldId="797"/>
                <pc2:cmMk id="{ED4D19AF-282D-42BA-BF7D-38765AA3C730}"/>
              </pc2:cmMkLst>
            </pc226:cmChg>
            <pc226:cmChg xmlns:pc226="http://schemas.microsoft.com/office/powerpoint/2022/06/main/command" chg="mod">
              <pc226:chgData name="Brian T. Fogelberg" userId="1f6ae3f9-19fc-49dd-9903-364b80dd3a35" providerId="ADAL" clId="{64449C1A-8A8A-D74E-924B-E0BF93F8A9B1}" dt="2024-01-31T17:19:29.731" v="1" actId="20577"/>
              <pc2:cmMkLst xmlns:pc2="http://schemas.microsoft.com/office/powerpoint/2019/9/main/command">
                <pc:docMk/>
                <pc:sldMk cId="4270646571" sldId="797"/>
                <pc2:cmMk id="{35A683BF-6617-49B9-8303-12A795E0741B}"/>
              </pc2:cmMkLst>
            </pc226:cmChg>
          </p:ext>
        </pc:extLst>
      </pc:sldChg>
    </pc:docChg>
  </pc:docChgLst>
  <pc:docChgLst>
    <pc:chgData name="Kamile Walker" userId="S::kamiwalker@churchofjesuschrist.org::a6eb77e7-33bd-4c57-a3cf-538d131ebd75" providerId="AD" clId="Web-{E50F00A8-2C0E-E449-1887-D27D29BAA302}"/>
    <pc:docChg chg="modSld">
      <pc:chgData name="Kamile Walker" userId="S::kamiwalker@churchofjesuschrist.org::a6eb77e7-33bd-4c57-a3cf-538d131ebd75" providerId="AD" clId="Web-{E50F00A8-2C0E-E449-1887-D27D29BAA302}" dt="2023-07-26T17:01:08.745" v="21"/>
      <pc:docMkLst>
        <pc:docMk/>
      </pc:docMkLst>
      <pc:sldChg chg="delSp">
        <pc:chgData name="Kamile Walker" userId="S::kamiwalker@churchofjesuschrist.org::a6eb77e7-33bd-4c57-a3cf-538d131ebd75" providerId="AD" clId="Web-{E50F00A8-2C0E-E449-1887-D27D29BAA302}" dt="2023-07-26T17:01:08.745" v="21"/>
        <pc:sldMkLst>
          <pc:docMk/>
          <pc:sldMk cId="2180367955" sldId="660"/>
        </pc:sldMkLst>
        <pc:spChg chg="del">
          <ac:chgData name="Kamile Walker" userId="S::kamiwalker@churchofjesuschrist.org::a6eb77e7-33bd-4c57-a3cf-538d131ebd75" providerId="AD" clId="Web-{E50F00A8-2C0E-E449-1887-D27D29BAA302}" dt="2023-07-26T17:01:08.745" v="21"/>
          <ac:spMkLst>
            <pc:docMk/>
            <pc:sldMk cId="2180367955" sldId="660"/>
            <ac:spMk id="5" creationId="{347B6CD6-970A-C946-9E47-CEEC7B914FA8}"/>
          </ac:spMkLst>
        </pc:spChg>
      </pc:sldChg>
      <pc:sldChg chg="delSp modSp">
        <pc:chgData name="Kamile Walker" userId="S::kamiwalker@churchofjesuschrist.org::a6eb77e7-33bd-4c57-a3cf-538d131ebd75" providerId="AD" clId="Web-{E50F00A8-2C0E-E449-1887-D27D29BAA302}" dt="2023-07-26T16:59:26.195" v="15" actId="1076"/>
        <pc:sldMkLst>
          <pc:docMk/>
          <pc:sldMk cId="3699205717" sldId="823"/>
        </pc:sldMkLst>
        <pc:spChg chg="mod">
          <ac:chgData name="Kamile Walker" userId="S::kamiwalker@churchofjesuschrist.org::a6eb77e7-33bd-4c57-a3cf-538d131ebd75" providerId="AD" clId="Web-{E50F00A8-2C0E-E449-1887-D27D29BAA302}" dt="2023-07-26T16:59:26.195" v="15" actId="1076"/>
          <ac:spMkLst>
            <pc:docMk/>
            <pc:sldMk cId="3699205717" sldId="823"/>
            <ac:spMk id="6" creationId="{03DB7BEA-64A9-8BC2-B0AF-DFD61C001233}"/>
          </ac:spMkLst>
        </pc:spChg>
        <pc:spChg chg="del">
          <ac:chgData name="Kamile Walker" userId="S::kamiwalker@churchofjesuschrist.org::a6eb77e7-33bd-4c57-a3cf-538d131ebd75" providerId="AD" clId="Web-{E50F00A8-2C0E-E449-1887-D27D29BAA302}" dt="2023-07-26T16:59:13.320" v="13"/>
          <ac:spMkLst>
            <pc:docMk/>
            <pc:sldMk cId="3699205717" sldId="823"/>
            <ac:spMk id="26" creationId="{EA71D5DF-E7DC-3741-8D95-947602EF5B8B}"/>
          </ac:spMkLst>
        </pc:spChg>
      </pc:sldChg>
      <pc:sldChg chg="modSp modCm">
        <pc:chgData name="Kamile Walker" userId="S::kamiwalker@churchofjesuschrist.org::a6eb77e7-33bd-4c57-a3cf-538d131ebd75" providerId="AD" clId="Web-{E50F00A8-2C0E-E449-1887-D27D29BAA302}" dt="2023-07-26T16:58:51.460" v="12" actId="1076"/>
        <pc:sldMkLst>
          <pc:docMk/>
          <pc:sldMk cId="3388375151" sldId="826"/>
        </pc:sldMkLst>
        <pc:spChg chg="mod">
          <ac:chgData name="Kamile Walker" userId="S::kamiwalker@churchofjesuschrist.org::a6eb77e7-33bd-4c57-a3cf-538d131ebd75" providerId="AD" clId="Web-{E50F00A8-2C0E-E449-1887-D27D29BAA302}" dt="2023-07-26T16:58:42.913" v="11" actId="1076"/>
          <ac:spMkLst>
            <pc:docMk/>
            <pc:sldMk cId="3388375151" sldId="826"/>
            <ac:spMk id="3" creationId="{7C481D4E-3A9E-6581-F474-8B4DC57625E6}"/>
          </ac:spMkLst>
        </pc:spChg>
        <pc:spChg chg="mod">
          <ac:chgData name="Kamile Walker" userId="S::kamiwalker@churchofjesuschrist.org::a6eb77e7-33bd-4c57-a3cf-538d131ebd75" providerId="AD" clId="Web-{E50F00A8-2C0E-E449-1887-D27D29BAA302}" dt="2023-07-26T16:58:51.460" v="12" actId="1076"/>
          <ac:spMkLst>
            <pc:docMk/>
            <pc:sldMk cId="3388375151" sldId="826"/>
            <ac:spMk id="6" creationId="{03DB7BEA-64A9-8BC2-B0AF-DFD61C001233}"/>
          </ac:spMkLst>
        </pc:spChg>
        <pc:spChg chg="mod">
          <ac:chgData name="Kamile Walker" userId="S::kamiwalker@churchofjesuschrist.org::a6eb77e7-33bd-4c57-a3cf-538d131ebd75" providerId="AD" clId="Web-{E50F00A8-2C0E-E449-1887-D27D29BAA302}" dt="2023-07-26T16:57:46.020" v="6" actId="20577"/>
          <ac:spMkLst>
            <pc:docMk/>
            <pc:sldMk cId="3388375151" sldId="826"/>
            <ac:spMk id="26" creationId="{EA71D5DF-E7DC-3741-8D95-947602EF5B8B}"/>
          </ac:spMkLst>
        </pc:spChg>
        <pc:extLst>
          <p:ext xmlns:p="http://schemas.openxmlformats.org/presentationml/2006/main" uri="{D6D511B9-2390-475A-947B-AFAB55BFBCF1}">
            <pc226:cmChg xmlns:pc226="http://schemas.microsoft.com/office/powerpoint/2022/06/main/command" chg="">
              <pc226:chgData name="Kamile Walker" userId="S::kamiwalker@churchofjesuschrist.org::a6eb77e7-33bd-4c57-a3cf-538d131ebd75" providerId="AD" clId="Web-{E50F00A8-2C0E-E449-1887-D27D29BAA302}" dt="2023-07-26T16:56:55.394" v="0"/>
              <pc2:cmMkLst xmlns:pc2="http://schemas.microsoft.com/office/powerpoint/2019/9/main/command">
                <pc:docMk/>
                <pc:sldMk cId="3388375151" sldId="826"/>
                <pc2:cmMk id="{8A8EAA6F-FF5B-4E2B-8753-08CA12D1EF8E}"/>
              </pc2:cmMkLst>
              <pc226:cmRplyChg chg="add">
                <pc226:chgData name="Kamile Walker" userId="S::kamiwalker@churchofjesuschrist.org::a6eb77e7-33bd-4c57-a3cf-538d131ebd75" providerId="AD" clId="Web-{E50F00A8-2C0E-E449-1887-D27D29BAA302}" dt="2023-07-26T16:56:55.394" v="0"/>
                <pc2:cmRplyMkLst xmlns:pc2="http://schemas.microsoft.com/office/powerpoint/2019/9/main/command">
                  <pc:docMk/>
                  <pc:sldMk cId="3388375151" sldId="826"/>
                  <pc2:cmMk id="{8A8EAA6F-FF5B-4E2B-8753-08CA12D1EF8E}"/>
                  <pc2:cmRplyMk id="{8DAC18F9-7846-450B-A62C-EAE6EACD6254}"/>
                </pc2:cmRplyMkLst>
              </pc226:cmRplyChg>
            </pc226:cmChg>
            <pc226:cmChg xmlns:pc226="http://schemas.microsoft.com/office/powerpoint/2022/06/main/command" chg="mod">
              <pc226:chgData name="Kamile Walker" userId="S::kamiwalker@churchofjesuschrist.org::a6eb77e7-33bd-4c57-a3cf-538d131ebd75" providerId="AD" clId="Web-{E50F00A8-2C0E-E449-1887-D27D29BAA302}" dt="2023-07-26T16:57:34.223" v="3" actId="20577"/>
              <pc2:cmMkLst xmlns:pc2="http://schemas.microsoft.com/office/powerpoint/2019/9/main/command">
                <pc:docMk/>
                <pc:sldMk cId="3388375151" sldId="826"/>
                <pc2:cmMk id="{100BDAD0-F9A5-491C-958B-7B16034FB4ED}"/>
              </pc2:cmMkLst>
            </pc226:cmChg>
          </p:ext>
        </pc:extLst>
      </pc:sldChg>
      <pc:sldChg chg="delSp modSp">
        <pc:chgData name="Kamile Walker" userId="S::kamiwalker@churchofjesuschrist.org::a6eb77e7-33bd-4c57-a3cf-538d131ebd75" providerId="AD" clId="Web-{E50F00A8-2C0E-E449-1887-D27D29BAA302}" dt="2023-07-26T17:00:09.306" v="19" actId="1076"/>
        <pc:sldMkLst>
          <pc:docMk/>
          <pc:sldMk cId="787964137" sldId="827"/>
        </pc:sldMkLst>
        <pc:spChg chg="mod">
          <ac:chgData name="Kamile Walker" userId="S::kamiwalker@churchofjesuschrist.org::a6eb77e7-33bd-4c57-a3cf-538d131ebd75" providerId="AD" clId="Web-{E50F00A8-2C0E-E449-1887-D27D29BAA302}" dt="2023-07-26T17:00:09.306" v="19" actId="1076"/>
          <ac:spMkLst>
            <pc:docMk/>
            <pc:sldMk cId="787964137" sldId="827"/>
            <ac:spMk id="6" creationId="{03DB7BEA-64A9-8BC2-B0AF-DFD61C001233}"/>
          </ac:spMkLst>
        </pc:spChg>
        <pc:spChg chg="del">
          <ac:chgData name="Kamile Walker" userId="S::kamiwalker@churchofjesuschrist.org::a6eb77e7-33bd-4c57-a3cf-538d131ebd75" providerId="AD" clId="Web-{E50F00A8-2C0E-E449-1887-D27D29BAA302}" dt="2023-07-26T16:59:52.962" v="16"/>
          <ac:spMkLst>
            <pc:docMk/>
            <pc:sldMk cId="787964137" sldId="827"/>
            <ac:spMk id="26" creationId="{EA71D5DF-E7DC-3741-8D95-947602EF5B8B}"/>
          </ac:spMkLst>
        </pc:spChg>
      </pc:sldChg>
      <pc:sldChg chg="delSp">
        <pc:chgData name="Kamile Walker" userId="S::kamiwalker@churchofjesuschrist.org::a6eb77e7-33bd-4c57-a3cf-538d131ebd75" providerId="AD" clId="Web-{E50F00A8-2C0E-E449-1887-D27D29BAA302}" dt="2023-07-26T17:00:57.307" v="20"/>
        <pc:sldMkLst>
          <pc:docMk/>
          <pc:sldMk cId="2768504817" sldId="831"/>
        </pc:sldMkLst>
        <pc:spChg chg="del">
          <ac:chgData name="Kamile Walker" userId="S::kamiwalker@churchofjesuschrist.org::a6eb77e7-33bd-4c57-a3cf-538d131ebd75" providerId="AD" clId="Web-{E50F00A8-2C0E-E449-1887-D27D29BAA302}" dt="2023-07-26T17:00:57.307" v="20"/>
          <ac:spMkLst>
            <pc:docMk/>
            <pc:sldMk cId="2768504817" sldId="831"/>
            <ac:spMk id="26" creationId="{EA71D5DF-E7DC-3741-8D95-947602EF5B8B}"/>
          </ac:spMkLst>
        </pc:spChg>
      </pc:sldChg>
    </pc:docChg>
  </pc:docChgLst>
  <pc:docChgLst>
    <pc:chgData name="Heidi Jean Harms" userId="S::heidiharms@churchofjesuschrist.org::b7342844-2534-4d4b-8710-0632f461dd8c" providerId="AD" clId="Web-{6F3B6A18-80A5-7B4E-812E-D300863C1357}"/>
    <pc:docChg chg="mod modSld">
      <pc:chgData name="Heidi Jean Harms" userId="S::heidiharms@churchofjesuschrist.org::b7342844-2534-4d4b-8710-0632f461dd8c" providerId="AD" clId="Web-{6F3B6A18-80A5-7B4E-812E-D300863C1357}" dt="2023-07-25T15:32:33.800" v="24"/>
      <pc:docMkLst>
        <pc:docMk/>
      </pc:docMkLst>
      <pc:sldChg chg="addCm modCm">
        <pc:chgData name="Heidi Jean Harms" userId="S::heidiharms@churchofjesuschrist.org::b7342844-2534-4d4b-8710-0632f461dd8c" providerId="AD" clId="Web-{6F3B6A18-80A5-7B4E-812E-D300863C1357}" dt="2023-07-25T15:28:50.421" v="17"/>
        <pc:sldMkLst>
          <pc:docMk/>
          <pc:sldMk cId="1325330900" sldId="708"/>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5:28:50.421" v="17"/>
              <pc2:cmMkLst xmlns:pc2="http://schemas.microsoft.com/office/powerpoint/2019/9/main/command">
                <pc:docMk/>
                <pc:sldMk cId="1325330900" sldId="708"/>
                <pc2:cmMk id="{7096199E-317A-44C0-862B-D87A5486DAD2}"/>
              </pc2:cmMkLst>
              <pc226:cmRplyChg chg="add">
                <pc226:chgData name="Heidi Jean Harms" userId="S::heidiharms@churchofjesuschrist.org::b7342844-2534-4d4b-8710-0632f461dd8c" providerId="AD" clId="Web-{6F3B6A18-80A5-7B4E-812E-D300863C1357}" dt="2023-07-25T15:28:18.374" v="16"/>
                <pc2:cmRplyMkLst xmlns:pc2="http://schemas.microsoft.com/office/powerpoint/2019/9/main/command">
                  <pc:docMk/>
                  <pc:sldMk cId="1325330900" sldId="708"/>
                  <pc2:cmMk id="{7096199E-317A-44C0-862B-D87A5486DAD2}"/>
                  <pc2:cmRplyMk id="{43197740-D1DC-4D37-8269-FB603AB42103}"/>
                </pc2:cmRplyMkLst>
              </pc226:cmRplyChg>
              <pc226:cmRplyChg chg="add">
                <pc226:chgData name="Heidi Jean Harms" userId="S::heidiharms@churchofjesuschrist.org::b7342844-2534-4d4b-8710-0632f461dd8c" providerId="AD" clId="Web-{6F3B6A18-80A5-7B4E-812E-D300863C1357}" dt="2023-07-25T15:28:50.421" v="17"/>
                <pc2:cmRplyMkLst xmlns:pc2="http://schemas.microsoft.com/office/powerpoint/2019/9/main/command">
                  <pc:docMk/>
                  <pc:sldMk cId="1325330900" sldId="708"/>
                  <pc2:cmMk id="{7096199E-317A-44C0-862B-D87A5486DAD2}"/>
                  <pc2:cmRplyMk id="{69E65E43-5A73-4088-9A89-6182B5301A7B}"/>
                </pc2:cmRplyMkLst>
              </pc226:cmRplyChg>
            </pc226:cmChg>
          </p:ext>
        </pc:extLst>
      </pc:sldChg>
      <pc:sldChg chg="modSp addCm">
        <pc:chgData name="Heidi Jean Harms" userId="S::heidiharms@churchofjesuschrist.org::b7342844-2534-4d4b-8710-0632f461dd8c" providerId="AD" clId="Web-{6F3B6A18-80A5-7B4E-812E-D300863C1357}" dt="2023-07-25T15:32:33.800" v="24"/>
        <pc:sldMkLst>
          <pc:docMk/>
          <pc:sldMk cId="29013491" sldId="769"/>
        </pc:sldMkLst>
        <pc:spChg chg="mod">
          <ac:chgData name="Heidi Jean Harms" userId="S::heidiharms@churchofjesuschrist.org::b7342844-2534-4d4b-8710-0632f461dd8c" providerId="AD" clId="Web-{6F3B6A18-80A5-7B4E-812E-D300863C1357}" dt="2023-07-25T15:32:31.035" v="23" actId="1076"/>
          <ac:spMkLst>
            <pc:docMk/>
            <pc:sldMk cId="29013491" sldId="769"/>
            <ac:spMk id="3" creationId="{D8403070-DEEB-8143-B9ED-F146907EEFC3}"/>
          </ac:spMkLst>
        </pc:spChg>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5:32:33.800" v="24"/>
              <pc2:cmMkLst xmlns:pc2="http://schemas.microsoft.com/office/powerpoint/2019/9/main/command">
                <pc:docMk/>
                <pc:sldMk cId="29013491" sldId="769"/>
                <pc2:cmMk id="{1F5644EC-30EA-4658-B3AA-BC63D78E98FA}"/>
              </pc2:cmMkLst>
            </pc226:cmChg>
          </p:ext>
        </pc:extLst>
      </pc:sldChg>
      <pc:sldChg chg="addCm">
        <pc:chgData name="Heidi Jean Harms" userId="S::heidiharms@churchofjesuschrist.org::b7342844-2534-4d4b-8710-0632f461dd8c" providerId="AD" clId="Web-{6F3B6A18-80A5-7B4E-812E-D300863C1357}" dt="2023-07-25T15:26:44.966" v="13"/>
        <pc:sldMkLst>
          <pc:docMk/>
          <pc:sldMk cId="2999881190" sldId="788"/>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5:26:44.966" v="13"/>
              <pc2:cmMkLst xmlns:pc2="http://schemas.microsoft.com/office/powerpoint/2019/9/main/command">
                <pc:docMk/>
                <pc:sldMk cId="2999881190" sldId="788"/>
                <pc2:cmMk id="{212C0D38-D43C-4AB2-992C-49AFB2BE853F}"/>
              </pc2:cmMkLst>
            </pc226:cmChg>
          </p:ext>
        </pc:extLst>
      </pc:sldChg>
      <pc:sldChg chg="addCm">
        <pc:chgData name="Heidi Jean Harms" userId="S::heidiharms@churchofjesuschrist.org::b7342844-2534-4d4b-8710-0632f461dd8c" providerId="AD" clId="Web-{6F3B6A18-80A5-7B4E-812E-D300863C1357}" dt="2023-07-25T14:59:16.156" v="4"/>
        <pc:sldMkLst>
          <pc:docMk/>
          <pc:sldMk cId="4270646571" sldId="797"/>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4:59:16.156" v="4"/>
              <pc2:cmMkLst xmlns:pc2="http://schemas.microsoft.com/office/powerpoint/2019/9/main/command">
                <pc:docMk/>
                <pc:sldMk cId="4270646571" sldId="797"/>
                <pc2:cmMk id="{E6EC95FA-63B9-41B7-84BF-E9B0C057C1ED}"/>
              </pc2:cmMkLst>
            </pc226:cmChg>
          </p:ext>
        </pc:extLst>
      </pc:sldChg>
      <pc:sldChg chg="addCm">
        <pc:chgData name="Heidi Jean Harms" userId="S::heidiharms@churchofjesuschrist.org::b7342844-2534-4d4b-8710-0632f461dd8c" providerId="AD" clId="Web-{6F3B6A18-80A5-7B4E-812E-D300863C1357}" dt="2023-07-25T15:00:26.329" v="6"/>
        <pc:sldMkLst>
          <pc:docMk/>
          <pc:sldMk cId="3075817669" sldId="805"/>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4:46:37.112" v="1"/>
              <pc2:cmMkLst xmlns:pc2="http://schemas.microsoft.com/office/powerpoint/2019/9/main/command">
                <pc:docMk/>
                <pc:sldMk cId="3075817669" sldId="805"/>
                <pc2:cmMk id="{296EDE5F-16CE-407E-BE41-32E965599C7F}"/>
              </pc2:cmMkLst>
            </pc226:cmChg>
            <pc226:cmChg xmlns:pc226="http://schemas.microsoft.com/office/powerpoint/2022/06/main/command" chg="add">
              <pc226:chgData name="Heidi Jean Harms" userId="S::heidiharms@churchofjesuschrist.org::b7342844-2534-4d4b-8710-0632f461dd8c" providerId="AD" clId="Web-{6F3B6A18-80A5-7B4E-812E-D300863C1357}" dt="2023-07-25T14:49:25.537" v="2"/>
              <pc2:cmMkLst xmlns:pc2="http://schemas.microsoft.com/office/powerpoint/2019/9/main/command">
                <pc:docMk/>
                <pc:sldMk cId="3075817669" sldId="805"/>
                <pc2:cmMk id="{ED2DCE64-0DFE-4B14-9842-0ED12852BE13}"/>
              </pc2:cmMkLst>
            </pc226:cmChg>
            <pc226:cmChg xmlns:pc226="http://schemas.microsoft.com/office/powerpoint/2022/06/main/command" chg="add">
              <pc226:chgData name="Heidi Jean Harms" userId="S::heidiharms@churchofjesuschrist.org::b7342844-2534-4d4b-8710-0632f461dd8c" providerId="AD" clId="Web-{6F3B6A18-80A5-7B4E-812E-D300863C1357}" dt="2023-07-25T14:59:56.641" v="5"/>
              <pc2:cmMkLst xmlns:pc2="http://schemas.microsoft.com/office/powerpoint/2019/9/main/command">
                <pc:docMk/>
                <pc:sldMk cId="3075817669" sldId="805"/>
                <pc2:cmMk id="{EA03A776-8C5E-4F8F-8BB5-D5C21233E6F2}"/>
              </pc2:cmMkLst>
            </pc226:cmChg>
            <pc226:cmChg xmlns:pc226="http://schemas.microsoft.com/office/powerpoint/2022/06/main/command" chg="add">
              <pc226:chgData name="Heidi Jean Harms" userId="S::heidiharms@churchofjesuschrist.org::b7342844-2534-4d4b-8710-0632f461dd8c" providerId="AD" clId="Web-{6F3B6A18-80A5-7B4E-812E-D300863C1357}" dt="2023-07-25T15:00:26.329" v="6"/>
              <pc2:cmMkLst xmlns:pc2="http://schemas.microsoft.com/office/powerpoint/2019/9/main/command">
                <pc:docMk/>
                <pc:sldMk cId="3075817669" sldId="805"/>
                <pc2:cmMk id="{3C4780FD-517E-4551-8C21-D94170B967BC}"/>
              </pc2:cmMkLst>
            </pc226:cmChg>
          </p:ext>
        </pc:extLst>
      </pc:sldChg>
      <pc:sldChg chg="addCm">
        <pc:chgData name="Heidi Jean Harms" userId="S::heidiharms@churchofjesuschrist.org::b7342844-2534-4d4b-8710-0632f461dd8c" providerId="AD" clId="Web-{6F3B6A18-80A5-7B4E-812E-D300863C1357}" dt="2023-07-25T15:25:24.152" v="11"/>
        <pc:sldMkLst>
          <pc:docMk/>
          <pc:sldMk cId="1441974530" sldId="815"/>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5:25:24.152" v="11"/>
              <pc2:cmMkLst xmlns:pc2="http://schemas.microsoft.com/office/powerpoint/2019/9/main/command">
                <pc:docMk/>
                <pc:sldMk cId="1441974530" sldId="815"/>
                <pc2:cmMk id="{A941C1CA-4CDB-4360-9B05-AEBE57FBD91C}"/>
              </pc2:cmMkLst>
            </pc226:cmChg>
          </p:ext>
        </pc:extLst>
      </pc:sldChg>
      <pc:sldChg chg="addCm">
        <pc:chgData name="Heidi Jean Harms" userId="S::heidiharms@churchofjesuschrist.org::b7342844-2534-4d4b-8710-0632f461dd8c" providerId="AD" clId="Web-{6F3B6A18-80A5-7B4E-812E-D300863C1357}" dt="2023-07-25T15:25:59.387" v="12"/>
        <pc:sldMkLst>
          <pc:docMk/>
          <pc:sldMk cId="3056659758" sldId="817"/>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5:25:59.387" v="12"/>
              <pc2:cmMkLst xmlns:pc2="http://schemas.microsoft.com/office/powerpoint/2019/9/main/command">
                <pc:docMk/>
                <pc:sldMk cId="3056659758" sldId="817"/>
                <pc2:cmMk id="{484C6D2A-E56F-4F37-A366-63888AB566AF}"/>
              </pc2:cmMkLst>
            </pc226:cmChg>
          </p:ext>
        </pc:extLst>
      </pc:sldChg>
      <pc:sldChg chg="addCm">
        <pc:chgData name="Heidi Jean Harms" userId="S::heidiharms@churchofjesuschrist.org::b7342844-2534-4d4b-8710-0632f461dd8c" providerId="AD" clId="Web-{6F3B6A18-80A5-7B4E-812E-D300863C1357}" dt="2023-07-25T15:03:44.098" v="7"/>
        <pc:sldMkLst>
          <pc:docMk/>
          <pc:sldMk cId="3569784783" sldId="819"/>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5:03:44.098" v="7"/>
              <pc2:cmMkLst xmlns:pc2="http://schemas.microsoft.com/office/powerpoint/2019/9/main/command">
                <pc:docMk/>
                <pc:sldMk cId="3569784783" sldId="819"/>
                <pc2:cmMk id="{91A770B9-5555-4396-BE28-ACD24AF8832C}"/>
              </pc2:cmMkLst>
            </pc226:cmChg>
          </p:ext>
        </pc:extLst>
      </pc:sldChg>
      <pc:sldChg chg="addCm">
        <pc:chgData name="Heidi Jean Harms" userId="S::heidiharms@churchofjesuschrist.org::b7342844-2534-4d4b-8710-0632f461dd8c" providerId="AD" clId="Web-{6F3B6A18-80A5-7B4E-812E-D300863C1357}" dt="2023-07-25T14:58:17.718" v="3"/>
        <pc:sldMkLst>
          <pc:docMk/>
          <pc:sldMk cId="1652657516" sldId="820"/>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4:58:17.718" v="3"/>
              <pc2:cmMkLst xmlns:pc2="http://schemas.microsoft.com/office/powerpoint/2019/9/main/command">
                <pc:docMk/>
                <pc:sldMk cId="1652657516" sldId="820"/>
                <pc2:cmMk id="{2EE799AF-AB3C-44B0-8059-C974F853396E}"/>
              </pc2:cmMkLst>
            </pc226:cmChg>
          </p:ext>
        </pc:extLst>
      </pc:sldChg>
      <pc:sldChg chg="addCm">
        <pc:chgData name="Heidi Jean Harms" userId="S::heidiharms@churchofjesuschrist.org::b7342844-2534-4d4b-8710-0632f461dd8c" providerId="AD" clId="Web-{6F3B6A18-80A5-7B4E-812E-D300863C1357}" dt="2023-07-25T15:17:26.738" v="9"/>
        <pc:sldMkLst>
          <pc:docMk/>
          <pc:sldMk cId="1753766256" sldId="821"/>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5:13:34.031" v="8"/>
              <pc2:cmMkLst xmlns:pc2="http://schemas.microsoft.com/office/powerpoint/2019/9/main/command">
                <pc:docMk/>
                <pc:sldMk cId="1753766256" sldId="821"/>
                <pc2:cmMk id="{91EA4F99-D621-4392-BE7F-21CE978D8B9F}"/>
              </pc2:cmMkLst>
            </pc226:cmChg>
            <pc226:cmChg xmlns:pc226="http://schemas.microsoft.com/office/powerpoint/2022/06/main/command" chg="add">
              <pc226:chgData name="Heidi Jean Harms" userId="S::heidiharms@churchofjesuschrist.org::b7342844-2534-4d4b-8710-0632f461dd8c" providerId="AD" clId="Web-{6F3B6A18-80A5-7B4E-812E-D300863C1357}" dt="2023-07-25T15:17:26.738" v="9"/>
              <pc2:cmMkLst xmlns:pc2="http://schemas.microsoft.com/office/powerpoint/2019/9/main/command">
                <pc:docMk/>
                <pc:sldMk cId="1753766256" sldId="821"/>
                <pc2:cmMk id="{EA0BEAAA-10EC-4515-8913-0A506815C227}"/>
              </pc2:cmMkLst>
            </pc226:cmChg>
          </p:ext>
        </pc:extLst>
      </pc:sldChg>
      <pc:sldChg chg="addCm">
        <pc:chgData name="Heidi Jean Harms" userId="S::heidiharms@churchofjesuschrist.org::b7342844-2534-4d4b-8710-0632f461dd8c" providerId="AD" clId="Web-{6F3B6A18-80A5-7B4E-812E-D300863C1357}" dt="2023-07-25T15:18:28.332" v="10"/>
        <pc:sldMkLst>
          <pc:docMk/>
          <pc:sldMk cId="3388375151" sldId="826"/>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5:18:28.332" v="10"/>
              <pc2:cmMkLst xmlns:pc2="http://schemas.microsoft.com/office/powerpoint/2019/9/main/command">
                <pc:docMk/>
                <pc:sldMk cId="3388375151" sldId="826"/>
                <pc2:cmMk id="{8A8EAA6F-FF5B-4E2B-8753-08CA12D1EF8E}"/>
              </pc2:cmMkLst>
            </pc226:cmChg>
          </p:ext>
        </pc:extLst>
      </pc:sldChg>
      <pc:sldChg chg="addCm">
        <pc:chgData name="Heidi Jean Harms" userId="S::heidiharms@churchofjesuschrist.org::b7342844-2534-4d4b-8710-0632f461dd8c" providerId="AD" clId="Web-{6F3B6A18-80A5-7B4E-812E-D300863C1357}" dt="2023-07-25T15:27:04.716" v="14"/>
        <pc:sldMkLst>
          <pc:docMk/>
          <pc:sldMk cId="787964137" sldId="827"/>
        </pc:sldMkLst>
        <pc:extLst>
          <p:ext xmlns:p="http://schemas.openxmlformats.org/presentationml/2006/main" uri="{D6D511B9-2390-475A-947B-AFAB55BFBCF1}">
            <pc226:cmChg xmlns:pc226="http://schemas.microsoft.com/office/powerpoint/2022/06/main/command" chg="add">
              <pc226:chgData name="Heidi Jean Harms" userId="S::heidiharms@churchofjesuschrist.org::b7342844-2534-4d4b-8710-0632f461dd8c" providerId="AD" clId="Web-{6F3B6A18-80A5-7B4E-812E-D300863C1357}" dt="2023-07-25T15:27:04.716" v="14"/>
              <pc2:cmMkLst xmlns:pc2="http://schemas.microsoft.com/office/powerpoint/2019/9/main/command">
                <pc:docMk/>
                <pc:sldMk cId="787964137" sldId="827"/>
                <pc2:cmMk id="{EFB39CB9-DAEC-4EEB-901D-01805BA8A179}"/>
              </pc2:cmMkLst>
            </pc226:cmChg>
          </p:ext>
        </pc:extLst>
      </pc:sldChg>
    </pc:docChg>
  </pc:docChgLst>
  <pc:docChgLst>
    <pc:chgData name="Holden Orval d'Evegnee" userId="S::hdevegnee@churchofjesuschrist.org::2df88dc8-6c87-461a-8482-8d296f406766" providerId="AD" clId="Web-{7AE68AE0-B6C3-85AB-1CE8-B3610676BACE}"/>
    <pc:docChg chg="modSld">
      <pc:chgData name="Holden Orval d'Evegnee" userId="S::hdevegnee@churchofjesuschrist.org::2df88dc8-6c87-461a-8482-8d296f406766" providerId="AD" clId="Web-{7AE68AE0-B6C3-85AB-1CE8-B3610676BACE}" dt="2023-07-26T18:00:39.232" v="237"/>
      <pc:docMkLst>
        <pc:docMk/>
      </pc:docMkLst>
      <pc:sldChg chg="modSp addCm modNotes">
        <pc:chgData name="Holden Orval d'Evegnee" userId="S::hdevegnee@churchofjesuschrist.org::2df88dc8-6c87-461a-8482-8d296f406766" providerId="AD" clId="Web-{7AE68AE0-B6C3-85AB-1CE8-B3610676BACE}" dt="2023-07-26T18:00:39.232" v="237"/>
        <pc:sldMkLst>
          <pc:docMk/>
          <pc:sldMk cId="2524528356" sldId="274"/>
        </pc:sldMkLst>
        <pc:spChg chg="mod">
          <ac:chgData name="Holden Orval d'Evegnee" userId="S::hdevegnee@churchofjesuschrist.org::2df88dc8-6c87-461a-8482-8d296f406766" providerId="AD" clId="Web-{7AE68AE0-B6C3-85AB-1CE8-B3610676BACE}" dt="2023-07-26T16:52:47.695" v="151" actId="20577"/>
          <ac:spMkLst>
            <pc:docMk/>
            <pc:sldMk cId="2524528356" sldId="274"/>
            <ac:spMk id="12" creationId="{C897D01E-E99D-A245-8A13-F45949F8C082}"/>
          </ac:spMkLst>
        </pc:spChg>
        <pc:spChg chg="mod">
          <ac:chgData name="Holden Orval d'Evegnee" userId="S::hdevegnee@churchofjesuschrist.org::2df88dc8-6c87-461a-8482-8d296f406766" providerId="AD" clId="Web-{7AE68AE0-B6C3-85AB-1CE8-B3610676BACE}" dt="2023-07-26T16:27:57.803" v="62" actId="20577"/>
          <ac:spMkLst>
            <pc:docMk/>
            <pc:sldMk cId="2524528356" sldId="274"/>
            <ac:spMk id="13" creationId="{214F4EDA-9E65-7A44-8530-C208ED9530BB}"/>
          </ac:spMkLst>
        </pc:spChg>
        <pc:spChg chg="mod">
          <ac:chgData name="Holden Orval d'Evegnee" userId="S::hdevegnee@churchofjesuschrist.org::2df88dc8-6c87-461a-8482-8d296f406766" providerId="AD" clId="Web-{7AE68AE0-B6C3-85AB-1CE8-B3610676BACE}" dt="2023-07-26T16:28:28.320" v="65" actId="20577"/>
          <ac:spMkLst>
            <pc:docMk/>
            <pc:sldMk cId="2524528356" sldId="274"/>
            <ac:spMk id="14" creationId="{3D19938C-6335-2249-A13D-06A60FE39D74}"/>
          </ac:spMkLst>
        </pc:spChg>
        <pc:spChg chg="mod">
          <ac:chgData name="Holden Orval d'Evegnee" userId="S::hdevegnee@churchofjesuschrist.org::2df88dc8-6c87-461a-8482-8d296f406766" providerId="AD" clId="Web-{7AE68AE0-B6C3-85AB-1CE8-B3610676BACE}" dt="2023-07-26T16:30:23.642" v="77" actId="1076"/>
          <ac:spMkLst>
            <pc:docMk/>
            <pc:sldMk cId="2524528356" sldId="274"/>
            <ac:spMk id="20" creationId="{E89279B5-7865-D045-93E1-B805478CAF9D}"/>
          </ac:spMkLst>
        </pc:spChg>
        <pc:extLst>
          <p:ext xmlns:p="http://schemas.openxmlformats.org/presentationml/2006/main" uri="{D6D511B9-2390-475A-947B-AFAB55BFBCF1}">
            <pc226:cmChg xmlns:pc226="http://schemas.microsoft.com/office/powerpoint/2022/06/main/command" chg="add">
              <pc226:chgData name="Holden Orval d'Evegnee" userId="S::hdevegnee@churchofjesuschrist.org::2df88dc8-6c87-461a-8482-8d296f406766" providerId="AD" clId="Web-{7AE68AE0-B6C3-85AB-1CE8-B3610676BACE}" dt="2023-07-26T18:00:39.232" v="237"/>
              <pc2:cmMkLst xmlns:pc2="http://schemas.microsoft.com/office/powerpoint/2019/9/main/command">
                <pc:docMk/>
                <pc:sldMk cId="2524528356" sldId="274"/>
                <pc2:cmMk id="{5307E6FA-4062-4A8A-BF3D-836E454E5A41}"/>
              </pc2:cmMkLst>
            </pc226:cmChg>
          </p:ext>
        </pc:extLst>
      </pc:sldChg>
      <pc:sldChg chg="modSp">
        <pc:chgData name="Holden Orval d'Evegnee" userId="S::hdevegnee@churchofjesuschrist.org::2df88dc8-6c87-461a-8482-8d296f406766" providerId="AD" clId="Web-{7AE68AE0-B6C3-85AB-1CE8-B3610676BACE}" dt="2023-07-26T15:42:16.848" v="45" actId="20577"/>
        <pc:sldMkLst>
          <pc:docMk/>
          <pc:sldMk cId="811277208" sldId="292"/>
        </pc:sldMkLst>
        <pc:spChg chg="mod">
          <ac:chgData name="Holden Orval d'Evegnee" userId="S::hdevegnee@churchofjesuschrist.org::2df88dc8-6c87-461a-8482-8d296f406766" providerId="AD" clId="Web-{7AE68AE0-B6C3-85AB-1CE8-B3610676BACE}" dt="2023-07-26T15:42:16.848" v="45" actId="20577"/>
          <ac:spMkLst>
            <pc:docMk/>
            <pc:sldMk cId="811277208" sldId="292"/>
            <ac:spMk id="3" creationId="{6D06104A-829B-66CC-9B73-FC55C759289C}"/>
          </ac:spMkLst>
        </pc:spChg>
      </pc:sldChg>
      <pc:sldChg chg="modSp addCm modCm">
        <pc:chgData name="Holden Orval d'Evegnee" userId="S::hdevegnee@churchofjesuschrist.org::2df88dc8-6c87-461a-8482-8d296f406766" providerId="AD" clId="Web-{7AE68AE0-B6C3-85AB-1CE8-B3610676BACE}" dt="2023-07-26T16:52:28.115" v="150" actId="20577"/>
        <pc:sldMkLst>
          <pc:docMk/>
          <pc:sldMk cId="2661863841" sldId="659"/>
        </pc:sldMkLst>
        <pc:spChg chg="mod">
          <ac:chgData name="Holden Orval d'Evegnee" userId="S::hdevegnee@churchofjesuschrist.org::2df88dc8-6c87-461a-8482-8d296f406766" providerId="AD" clId="Web-{7AE68AE0-B6C3-85AB-1CE8-B3610676BACE}" dt="2023-07-26T16:52:28.115" v="150" actId="20577"/>
          <ac:spMkLst>
            <pc:docMk/>
            <pc:sldMk cId="2661863841" sldId="659"/>
            <ac:spMk id="4" creationId="{B584CEB7-306D-9D4B-8A46-9E23D7A9C839}"/>
          </ac:spMkLst>
        </pc:spChg>
        <pc:extLst>
          <p:ext xmlns:p="http://schemas.openxmlformats.org/presentationml/2006/main" uri="{D6D511B9-2390-475A-947B-AFAB55BFBCF1}">
            <pc226:cmChg xmlns:pc226="http://schemas.microsoft.com/office/powerpoint/2022/06/main/command" chg="add mod">
              <pc226:chgData name="Holden Orval d'Evegnee" userId="S::hdevegnee@churchofjesuschrist.org::2df88dc8-6c87-461a-8482-8d296f406766" providerId="AD" clId="Web-{7AE68AE0-B6C3-85AB-1CE8-B3610676BACE}" dt="2023-07-26T16:52:18.036" v="149" actId="20577"/>
              <pc2:cmMkLst xmlns:pc2="http://schemas.microsoft.com/office/powerpoint/2019/9/main/command">
                <pc:docMk/>
                <pc:sldMk cId="2661863841" sldId="659"/>
                <pc2:cmMk id="{4213945C-077D-4CD4-9DD2-BAEF32A8FFAA}"/>
              </pc2:cmMkLst>
            </pc226:cmChg>
            <pc226:cmChg xmlns:pc226="http://schemas.microsoft.com/office/powerpoint/2022/06/main/command" chg="add mod">
              <pc226:chgData name="Holden Orval d'Evegnee" userId="S::hdevegnee@churchofjesuschrist.org::2df88dc8-6c87-461a-8482-8d296f406766" providerId="AD" clId="Web-{7AE68AE0-B6C3-85AB-1CE8-B3610676BACE}" dt="2023-07-26T16:52:18.036" v="149" actId="20577"/>
              <pc2:cmMkLst xmlns:pc2="http://schemas.microsoft.com/office/powerpoint/2019/9/main/command">
                <pc:docMk/>
                <pc:sldMk cId="2661863841" sldId="659"/>
                <pc2:cmMk id="{091A79F7-B0B4-46B7-A008-EAF310EA9F74}"/>
              </pc2:cmMkLst>
            </pc226:cmChg>
          </p:ext>
        </pc:extLst>
      </pc:sldChg>
      <pc:sldChg chg="modSp addCm modCm">
        <pc:chgData name="Holden Orval d'Evegnee" userId="S::hdevegnee@churchofjesuschrist.org::2df88dc8-6c87-461a-8482-8d296f406766" providerId="AD" clId="Web-{7AE68AE0-B6C3-85AB-1CE8-B3610676BACE}" dt="2023-07-26T17:28:54.715" v="169"/>
        <pc:sldMkLst>
          <pc:docMk/>
          <pc:sldMk cId="2180367955" sldId="660"/>
        </pc:sldMkLst>
        <pc:spChg chg="mod">
          <ac:chgData name="Holden Orval d'Evegnee" userId="S::hdevegnee@churchofjesuschrist.org::2df88dc8-6c87-461a-8482-8d296f406766" providerId="AD" clId="Web-{7AE68AE0-B6C3-85AB-1CE8-B3610676BACE}" dt="2023-07-26T17:25:05.527" v="167" actId="20577"/>
          <ac:spMkLst>
            <pc:docMk/>
            <pc:sldMk cId="2180367955" sldId="660"/>
            <ac:spMk id="4" creationId="{B584CEB7-306D-9D4B-8A46-9E23D7A9C839}"/>
          </ac:spMkLst>
        </pc:spChg>
        <pc:extLst>
          <p:ext xmlns:p="http://schemas.openxmlformats.org/presentationml/2006/main" uri="{D6D511B9-2390-475A-947B-AFAB55BFBCF1}">
            <pc226:cmChg xmlns:pc226="http://schemas.microsoft.com/office/powerpoint/2022/06/main/command" chg="add mod">
              <pc226:chgData name="Holden Orval d'Evegnee" userId="S::hdevegnee@churchofjesuschrist.org::2df88dc8-6c87-461a-8482-8d296f406766" providerId="AD" clId="Web-{7AE68AE0-B6C3-85AB-1CE8-B3610676BACE}" dt="2023-07-26T17:28:54.715" v="169"/>
              <pc2:cmMkLst xmlns:pc2="http://schemas.microsoft.com/office/powerpoint/2019/9/main/command">
                <pc:docMk/>
                <pc:sldMk cId="2180367955" sldId="660"/>
                <pc2:cmMk id="{592ADB8B-2355-4593-AD96-8B9029478531}"/>
              </pc2:cmMkLst>
            </pc226:cmChg>
          </p:ext>
        </pc:extLst>
      </pc:sldChg>
      <pc:sldChg chg="modSp">
        <pc:chgData name="Holden Orval d'Evegnee" userId="S::hdevegnee@churchofjesuschrist.org::2df88dc8-6c87-461a-8482-8d296f406766" providerId="AD" clId="Web-{7AE68AE0-B6C3-85AB-1CE8-B3610676BACE}" dt="2023-07-26T17:35:52.262" v="173" actId="20577"/>
        <pc:sldMkLst>
          <pc:docMk/>
          <pc:sldMk cId="3072156505" sldId="768"/>
        </pc:sldMkLst>
        <pc:spChg chg="mod">
          <ac:chgData name="Holden Orval d'Evegnee" userId="S::hdevegnee@churchofjesuschrist.org::2df88dc8-6c87-461a-8482-8d296f406766" providerId="AD" clId="Web-{7AE68AE0-B6C3-85AB-1CE8-B3610676BACE}" dt="2023-07-26T17:35:52.262" v="173" actId="20577"/>
          <ac:spMkLst>
            <pc:docMk/>
            <pc:sldMk cId="3072156505" sldId="768"/>
            <ac:spMk id="17" creationId="{30BBF45B-756D-2663-3D20-DC7F4904A854}"/>
          </ac:spMkLst>
        </pc:spChg>
      </pc:sldChg>
      <pc:sldChg chg="modSp">
        <pc:chgData name="Holden Orval d'Evegnee" userId="S::hdevegnee@churchofjesuschrist.org::2df88dc8-6c87-461a-8482-8d296f406766" providerId="AD" clId="Web-{7AE68AE0-B6C3-85AB-1CE8-B3610676BACE}" dt="2023-07-26T17:38:13.945" v="184" actId="20577"/>
        <pc:sldMkLst>
          <pc:docMk/>
          <pc:sldMk cId="29013491" sldId="769"/>
        </pc:sldMkLst>
        <pc:spChg chg="mod">
          <ac:chgData name="Holden Orval d'Evegnee" userId="S::hdevegnee@churchofjesuschrist.org::2df88dc8-6c87-461a-8482-8d296f406766" providerId="AD" clId="Web-{7AE68AE0-B6C3-85AB-1CE8-B3610676BACE}" dt="2023-07-26T17:37:29.676" v="179" actId="20577"/>
          <ac:spMkLst>
            <pc:docMk/>
            <pc:sldMk cId="29013491" sldId="769"/>
            <ac:spMk id="3" creationId="{D8403070-DEEB-8143-B9ED-F146907EEFC3}"/>
          </ac:spMkLst>
        </pc:spChg>
        <pc:spChg chg="mod">
          <ac:chgData name="Holden Orval d'Evegnee" userId="S::hdevegnee@churchofjesuschrist.org::2df88dc8-6c87-461a-8482-8d296f406766" providerId="AD" clId="Web-{7AE68AE0-B6C3-85AB-1CE8-B3610676BACE}" dt="2023-07-26T17:38:13.945" v="184" actId="20577"/>
          <ac:spMkLst>
            <pc:docMk/>
            <pc:sldMk cId="29013491" sldId="769"/>
            <ac:spMk id="10" creationId="{1C0FA216-8D3D-3047-8BAE-DA379674949C}"/>
          </ac:spMkLst>
        </pc:spChg>
      </pc:sldChg>
      <pc:sldChg chg="modSp modCm">
        <pc:chgData name="Holden Orval d'Evegnee" userId="S::hdevegnee@churchofjesuschrist.org::2df88dc8-6c87-461a-8482-8d296f406766" providerId="AD" clId="Web-{7AE68AE0-B6C3-85AB-1CE8-B3610676BACE}" dt="2023-07-26T17:39:41.029" v="194" actId="20577"/>
        <pc:sldMkLst>
          <pc:docMk/>
          <pc:sldMk cId="665768293" sldId="790"/>
        </pc:sldMkLst>
        <pc:spChg chg="mod">
          <ac:chgData name="Holden Orval d'Evegnee" userId="S::hdevegnee@churchofjesuschrist.org::2df88dc8-6c87-461a-8482-8d296f406766" providerId="AD" clId="Web-{7AE68AE0-B6C3-85AB-1CE8-B3610676BACE}" dt="2023-07-26T17:39:21.746" v="191" actId="20577"/>
          <ac:spMkLst>
            <pc:docMk/>
            <pc:sldMk cId="665768293" sldId="790"/>
            <ac:spMk id="2" creationId="{7A1C276B-2A33-C049-AEF8-5AF88AD11664}"/>
          </ac:spMkLst>
        </pc:spChg>
        <pc:spChg chg="mod">
          <ac:chgData name="Holden Orval d'Evegnee" userId="S::hdevegnee@churchofjesuschrist.org::2df88dc8-6c87-461a-8482-8d296f406766" providerId="AD" clId="Web-{7AE68AE0-B6C3-85AB-1CE8-B3610676BACE}" dt="2023-07-26T17:39:41.029" v="194" actId="20577"/>
          <ac:spMkLst>
            <pc:docMk/>
            <pc:sldMk cId="665768293" sldId="790"/>
            <ac:spMk id="6" creationId="{BD44D150-ABF4-D14A-BE79-37F452EC4044}"/>
          </ac:spMkLst>
        </pc:spChg>
        <pc:extLst>
          <p:ext xmlns:p="http://schemas.openxmlformats.org/presentationml/2006/main" uri="{D6D511B9-2390-475A-947B-AFAB55BFBCF1}">
            <pc226:cmChg xmlns:pc226="http://schemas.microsoft.com/office/powerpoint/2022/06/main/command" chg="mod">
              <pc226:chgData name="Holden Orval d'Evegnee" userId="S::hdevegnee@churchofjesuschrist.org::2df88dc8-6c87-461a-8482-8d296f406766" providerId="AD" clId="Web-{7AE68AE0-B6C3-85AB-1CE8-B3610676BACE}" dt="2023-07-26T17:39:20.934" v="190" actId="20577"/>
              <pc2:cmMkLst xmlns:pc2="http://schemas.microsoft.com/office/powerpoint/2019/9/main/command">
                <pc:docMk/>
                <pc:sldMk cId="665768293" sldId="790"/>
                <pc2:cmMk id="{4881F169-CBD9-46CB-80C1-EC1055548CC1}"/>
              </pc2:cmMkLst>
            </pc226:cmChg>
          </p:ext>
        </pc:extLst>
      </pc:sldChg>
      <pc:sldChg chg="modSp">
        <pc:chgData name="Holden Orval d'Evegnee" userId="S::hdevegnee@churchofjesuschrist.org::2df88dc8-6c87-461a-8482-8d296f406766" providerId="AD" clId="Web-{7AE68AE0-B6C3-85AB-1CE8-B3610676BACE}" dt="2023-07-26T16:42:41.665" v="93" actId="20577"/>
        <pc:sldMkLst>
          <pc:docMk/>
          <pc:sldMk cId="4270646571" sldId="797"/>
        </pc:sldMkLst>
        <pc:spChg chg="mod">
          <ac:chgData name="Holden Orval d'Evegnee" userId="S::hdevegnee@churchofjesuschrist.org::2df88dc8-6c87-461a-8482-8d296f406766" providerId="AD" clId="Web-{7AE68AE0-B6C3-85AB-1CE8-B3610676BACE}" dt="2023-07-26T16:42:41.665" v="93" actId="20577"/>
          <ac:spMkLst>
            <pc:docMk/>
            <pc:sldMk cId="4270646571" sldId="797"/>
            <ac:spMk id="9" creationId="{BB15C4F1-E9E5-652F-3489-C6E81DA9DC88}"/>
          </ac:spMkLst>
        </pc:spChg>
      </pc:sldChg>
      <pc:sldChg chg="addCm modCm">
        <pc:chgData name="Holden Orval d'Evegnee" userId="S::hdevegnee@churchofjesuschrist.org::2df88dc8-6c87-461a-8482-8d296f406766" providerId="AD" clId="Web-{7AE68AE0-B6C3-85AB-1CE8-B3610676BACE}" dt="2023-07-26T17:34:26.053" v="171"/>
        <pc:sldMkLst>
          <pc:docMk/>
          <pc:sldMk cId="1978917620" sldId="802"/>
        </pc:sldMkLst>
        <pc:extLst>
          <p:ext xmlns:p="http://schemas.openxmlformats.org/presentationml/2006/main" uri="{D6D511B9-2390-475A-947B-AFAB55BFBCF1}">
            <pc226:cmChg xmlns:pc226="http://schemas.microsoft.com/office/powerpoint/2022/06/main/command" chg="add mod">
              <pc226:chgData name="Holden Orval d'Evegnee" userId="S::hdevegnee@churchofjesuschrist.org::2df88dc8-6c87-461a-8482-8d296f406766" providerId="AD" clId="Web-{7AE68AE0-B6C3-85AB-1CE8-B3610676BACE}" dt="2023-07-26T17:34:26.053" v="171"/>
              <pc2:cmMkLst xmlns:pc2="http://schemas.microsoft.com/office/powerpoint/2019/9/main/command">
                <pc:docMk/>
                <pc:sldMk cId="1978917620" sldId="802"/>
                <pc2:cmMk id="{B39610FA-0F40-46C2-8BA0-DAF154D92AF9}"/>
              </pc2:cmMkLst>
            </pc226:cmChg>
          </p:ext>
        </pc:extLst>
      </pc:sldChg>
      <pc:sldChg chg="modNotes">
        <pc:chgData name="Holden Orval d'Evegnee" userId="S::hdevegnee@churchofjesuschrist.org::2df88dc8-6c87-461a-8482-8d296f406766" providerId="AD" clId="Web-{7AE68AE0-B6C3-85AB-1CE8-B3610676BACE}" dt="2023-07-26T17:59:19.148" v="234"/>
        <pc:sldMkLst>
          <pc:docMk/>
          <pc:sldMk cId="464030586" sldId="804"/>
        </pc:sldMkLst>
      </pc:sldChg>
      <pc:sldChg chg="modSp">
        <pc:chgData name="Holden Orval d'Evegnee" userId="S::hdevegnee@churchofjesuschrist.org::2df88dc8-6c87-461a-8482-8d296f406766" providerId="AD" clId="Web-{7AE68AE0-B6C3-85AB-1CE8-B3610676BACE}" dt="2023-07-26T16:04:29.713" v="51" actId="20577"/>
        <pc:sldMkLst>
          <pc:docMk/>
          <pc:sldMk cId="2626650125" sldId="808"/>
        </pc:sldMkLst>
        <pc:spChg chg="mod">
          <ac:chgData name="Holden Orval d'Evegnee" userId="S::hdevegnee@churchofjesuschrist.org::2df88dc8-6c87-461a-8482-8d296f406766" providerId="AD" clId="Web-{7AE68AE0-B6C3-85AB-1CE8-B3610676BACE}" dt="2023-07-26T16:04:29.713" v="51" actId="20577"/>
          <ac:spMkLst>
            <pc:docMk/>
            <pc:sldMk cId="2626650125" sldId="808"/>
            <ac:spMk id="6" creationId="{D4E20C81-273A-914E-0603-17C8EC006BC0}"/>
          </ac:spMkLst>
        </pc:spChg>
      </pc:sldChg>
      <pc:sldChg chg="modSp addCm modCm modNotes">
        <pc:chgData name="Holden Orval d'Evegnee" userId="S::hdevegnee@churchofjesuschrist.org::2df88dc8-6c87-461a-8482-8d296f406766" providerId="AD" clId="Web-{7AE68AE0-B6C3-85AB-1CE8-B3610676BACE}" dt="2023-07-26T17:49:13.415" v="220"/>
        <pc:sldMkLst>
          <pc:docMk/>
          <pc:sldMk cId="386647586" sldId="809"/>
        </pc:sldMkLst>
        <pc:spChg chg="mod">
          <ac:chgData name="Holden Orval d'Evegnee" userId="S::hdevegnee@churchofjesuschrist.org::2df88dc8-6c87-461a-8482-8d296f406766" providerId="AD" clId="Web-{7AE68AE0-B6C3-85AB-1CE8-B3610676BACE}" dt="2023-07-26T15:01:08.913" v="15" actId="20577"/>
          <ac:spMkLst>
            <pc:docMk/>
            <pc:sldMk cId="386647586" sldId="809"/>
            <ac:spMk id="3" creationId="{6A57A1E5-BB56-3949-BF3A-C64C36CAB647}"/>
          </ac:spMkLst>
        </pc:spChg>
        <pc:extLst>
          <p:ext xmlns:p="http://schemas.openxmlformats.org/presentationml/2006/main" uri="{D6D511B9-2390-475A-947B-AFAB55BFBCF1}">
            <pc226:cmChg xmlns:pc226="http://schemas.microsoft.com/office/powerpoint/2022/06/main/command" chg="add mod">
              <pc226:chgData name="Holden Orval d'Evegnee" userId="S::hdevegnee@churchofjesuschrist.org::2df88dc8-6c87-461a-8482-8d296f406766" providerId="AD" clId="Web-{7AE68AE0-B6C3-85AB-1CE8-B3610676BACE}" dt="2023-07-26T15:00:20.722" v="14"/>
              <pc2:cmMkLst xmlns:pc2="http://schemas.microsoft.com/office/powerpoint/2019/9/main/command">
                <pc:docMk/>
                <pc:sldMk cId="386647586" sldId="809"/>
                <pc2:cmMk id="{DF28976B-2D2F-4884-8C65-3C01F72DDB8A}"/>
              </pc2:cmMkLst>
            </pc226:cmChg>
          </p:ext>
        </pc:extLst>
      </pc:sldChg>
      <pc:sldChg chg="modNotes">
        <pc:chgData name="Holden Orval d'Evegnee" userId="S::hdevegnee@churchofjesuschrist.org::2df88dc8-6c87-461a-8482-8d296f406766" providerId="AD" clId="Web-{7AE68AE0-B6C3-85AB-1CE8-B3610676BACE}" dt="2023-07-26T17:41:46.710" v="197"/>
        <pc:sldMkLst>
          <pc:docMk/>
          <pc:sldMk cId="1507861903" sldId="810"/>
        </pc:sldMkLst>
      </pc:sldChg>
      <pc:sldChg chg="modSp">
        <pc:chgData name="Holden Orval d'Evegnee" userId="S::hdevegnee@churchofjesuschrist.org::2df88dc8-6c87-461a-8482-8d296f406766" providerId="AD" clId="Web-{7AE68AE0-B6C3-85AB-1CE8-B3610676BACE}" dt="2023-07-26T16:41:58.303" v="92" actId="20577"/>
        <pc:sldMkLst>
          <pc:docMk/>
          <pc:sldMk cId="954176609" sldId="813"/>
        </pc:sldMkLst>
        <pc:spChg chg="mod">
          <ac:chgData name="Holden Orval d'Evegnee" userId="S::hdevegnee@churchofjesuschrist.org::2df88dc8-6c87-461a-8482-8d296f406766" providerId="AD" clId="Web-{7AE68AE0-B6C3-85AB-1CE8-B3610676BACE}" dt="2023-07-26T16:41:58.303" v="92" actId="20577"/>
          <ac:spMkLst>
            <pc:docMk/>
            <pc:sldMk cId="954176609" sldId="813"/>
            <ac:spMk id="2" creationId="{DDB8F63A-FFC3-6EBE-7F2A-D6FB52736DF1}"/>
          </ac:spMkLst>
        </pc:spChg>
      </pc:sldChg>
      <pc:sldChg chg="modSp">
        <pc:chgData name="Holden Orval d'Evegnee" userId="S::hdevegnee@churchofjesuschrist.org::2df88dc8-6c87-461a-8482-8d296f406766" providerId="AD" clId="Web-{7AE68AE0-B6C3-85AB-1CE8-B3610676BACE}" dt="2023-07-26T15:15:27.384" v="29" actId="20577"/>
        <pc:sldMkLst>
          <pc:docMk/>
          <pc:sldMk cId="1441974530" sldId="815"/>
        </pc:sldMkLst>
        <pc:spChg chg="mod">
          <ac:chgData name="Holden Orval d'Evegnee" userId="S::hdevegnee@churchofjesuschrist.org::2df88dc8-6c87-461a-8482-8d296f406766" providerId="AD" clId="Web-{7AE68AE0-B6C3-85AB-1CE8-B3610676BACE}" dt="2023-07-26T15:15:27.384" v="29" actId="20577"/>
          <ac:spMkLst>
            <pc:docMk/>
            <pc:sldMk cId="1441974530" sldId="815"/>
            <ac:spMk id="2" creationId="{77C01B92-77F4-0A39-C1D5-76BF30E3689A}"/>
          </ac:spMkLst>
        </pc:spChg>
      </pc:sldChg>
      <pc:sldChg chg="modSp">
        <pc:chgData name="Holden Orval d'Evegnee" userId="S::hdevegnee@churchofjesuschrist.org::2df88dc8-6c87-461a-8482-8d296f406766" providerId="AD" clId="Web-{7AE68AE0-B6C3-85AB-1CE8-B3610676BACE}" dt="2023-07-26T16:07:54.650" v="53" actId="20577"/>
        <pc:sldMkLst>
          <pc:docMk/>
          <pc:sldMk cId="1480508468" sldId="816"/>
        </pc:sldMkLst>
        <pc:spChg chg="mod">
          <ac:chgData name="Holden Orval d'Evegnee" userId="S::hdevegnee@churchofjesuschrist.org::2df88dc8-6c87-461a-8482-8d296f406766" providerId="AD" clId="Web-{7AE68AE0-B6C3-85AB-1CE8-B3610676BACE}" dt="2023-07-26T16:07:54.650" v="53" actId="20577"/>
          <ac:spMkLst>
            <pc:docMk/>
            <pc:sldMk cId="1480508468" sldId="816"/>
            <ac:spMk id="7" creationId="{72D8B01B-E85A-CFCC-0B85-4D1CC7F40238}"/>
          </ac:spMkLst>
        </pc:spChg>
      </pc:sldChg>
      <pc:sldChg chg="modSp addCm modCm">
        <pc:chgData name="Holden Orval d'Evegnee" userId="S::hdevegnee@churchofjesuschrist.org::2df88dc8-6c87-461a-8482-8d296f406766" providerId="AD" clId="Web-{7AE68AE0-B6C3-85AB-1CE8-B3610676BACE}" dt="2023-07-26T16:40:20.499" v="88" actId="20577"/>
        <pc:sldMkLst>
          <pc:docMk/>
          <pc:sldMk cId="3569784783" sldId="819"/>
        </pc:sldMkLst>
        <pc:spChg chg="mod">
          <ac:chgData name="Holden Orval d'Evegnee" userId="S::hdevegnee@churchofjesuschrist.org::2df88dc8-6c87-461a-8482-8d296f406766" providerId="AD" clId="Web-{7AE68AE0-B6C3-85AB-1CE8-B3610676BACE}" dt="2023-07-26T16:40:20.499" v="88" actId="20577"/>
          <ac:spMkLst>
            <pc:docMk/>
            <pc:sldMk cId="3569784783" sldId="819"/>
            <ac:spMk id="28" creationId="{2DF252B8-74CF-F44D-9C66-D414C0B370E9}"/>
          </ac:spMkLst>
        </pc:spChg>
        <pc:spChg chg="mod">
          <ac:chgData name="Holden Orval d'Evegnee" userId="S::hdevegnee@churchofjesuschrist.org::2df88dc8-6c87-461a-8482-8d296f406766" providerId="AD" clId="Web-{7AE68AE0-B6C3-85AB-1CE8-B3610676BACE}" dt="2023-07-26T16:40:17.076" v="87" actId="20577"/>
          <ac:spMkLst>
            <pc:docMk/>
            <pc:sldMk cId="3569784783" sldId="819"/>
            <ac:spMk id="29" creationId="{CED74288-F993-2A4C-A717-1C6A7F535098}"/>
          </ac:spMkLst>
        </pc:spChg>
        <pc:extLst>
          <p:ext xmlns:p="http://schemas.openxmlformats.org/presentationml/2006/main" uri="{D6D511B9-2390-475A-947B-AFAB55BFBCF1}">
            <pc226:cmChg xmlns:pc226="http://schemas.microsoft.com/office/powerpoint/2022/06/main/command" chg="add mod">
              <pc226:chgData name="Holden Orval d'Evegnee" userId="S::hdevegnee@churchofjesuschrist.org::2df88dc8-6c87-461a-8482-8d296f406766" providerId="AD" clId="Web-{7AE68AE0-B6C3-85AB-1CE8-B3610676BACE}" dt="2023-07-26T16:40:20.499" v="88" actId="20577"/>
              <pc2:cmMkLst xmlns:pc2="http://schemas.microsoft.com/office/powerpoint/2019/9/main/command">
                <pc:docMk/>
                <pc:sldMk cId="3569784783" sldId="819"/>
                <pc2:cmMk id="{55863042-5F70-4DDA-9F15-5C366CCBD40D}"/>
              </pc2:cmMkLst>
            </pc226:cmChg>
          </p:ext>
        </pc:extLst>
      </pc:sldChg>
      <pc:sldChg chg="addCm modCm">
        <pc:chgData name="Holden Orval d'Evegnee" userId="S::hdevegnee@churchofjesuschrist.org::2df88dc8-6c87-461a-8482-8d296f406766" providerId="AD" clId="Web-{7AE68AE0-B6C3-85AB-1CE8-B3610676BACE}" dt="2023-07-26T14:20:23.732" v="2"/>
        <pc:sldMkLst>
          <pc:docMk/>
          <pc:sldMk cId="1652657516" sldId="820"/>
        </pc:sldMkLst>
        <pc:extLst>
          <p:ext xmlns:p="http://schemas.openxmlformats.org/presentationml/2006/main" uri="{D6D511B9-2390-475A-947B-AFAB55BFBCF1}">
            <pc226:cmChg xmlns:pc226="http://schemas.microsoft.com/office/powerpoint/2022/06/main/command" chg="add mod">
              <pc226:chgData name="Holden Orval d'Evegnee" userId="S::hdevegnee@churchofjesuschrist.org::2df88dc8-6c87-461a-8482-8d296f406766" providerId="AD" clId="Web-{7AE68AE0-B6C3-85AB-1CE8-B3610676BACE}" dt="2023-07-26T14:20:23.732" v="2"/>
              <pc2:cmMkLst xmlns:pc2="http://schemas.microsoft.com/office/powerpoint/2019/9/main/command">
                <pc:docMk/>
                <pc:sldMk cId="1652657516" sldId="820"/>
                <pc2:cmMk id="{33F0B04F-654E-434C-9FFA-64128FAADCD4}"/>
              </pc2:cmMkLst>
            </pc226:cmChg>
          </p:ext>
        </pc:extLst>
      </pc:sldChg>
      <pc:sldChg chg="modSp">
        <pc:chgData name="Holden Orval d'Evegnee" userId="S::hdevegnee@churchofjesuschrist.org::2df88dc8-6c87-461a-8482-8d296f406766" providerId="AD" clId="Web-{7AE68AE0-B6C3-85AB-1CE8-B3610676BACE}" dt="2023-07-26T14:48:13.762" v="6" actId="20577"/>
        <pc:sldMkLst>
          <pc:docMk/>
          <pc:sldMk cId="1753766256" sldId="821"/>
        </pc:sldMkLst>
        <pc:spChg chg="mod">
          <ac:chgData name="Holden Orval d'Evegnee" userId="S::hdevegnee@churchofjesuschrist.org::2df88dc8-6c87-461a-8482-8d296f406766" providerId="AD" clId="Web-{7AE68AE0-B6C3-85AB-1CE8-B3610676BACE}" dt="2023-07-26T14:48:13.762" v="6" actId="20577"/>
          <ac:spMkLst>
            <pc:docMk/>
            <pc:sldMk cId="1753766256" sldId="821"/>
            <ac:spMk id="9" creationId="{4AD386F1-F22E-CF4B-4EF8-839D5722921A}"/>
          </ac:spMkLst>
        </pc:spChg>
      </pc:sldChg>
      <pc:sldChg chg="modSp">
        <pc:chgData name="Holden Orval d'Evegnee" userId="S::hdevegnee@churchofjesuschrist.org::2df88dc8-6c87-461a-8482-8d296f406766" providerId="AD" clId="Web-{7AE68AE0-B6C3-85AB-1CE8-B3610676BACE}" dt="2023-07-26T16:41:13.362" v="89" actId="20577"/>
        <pc:sldMkLst>
          <pc:docMk/>
          <pc:sldMk cId="3699205717" sldId="823"/>
        </pc:sldMkLst>
        <pc:spChg chg="mod">
          <ac:chgData name="Holden Orval d'Evegnee" userId="S::hdevegnee@churchofjesuschrist.org::2df88dc8-6c87-461a-8482-8d296f406766" providerId="AD" clId="Web-{7AE68AE0-B6C3-85AB-1CE8-B3610676BACE}" dt="2023-07-26T16:41:13.362" v="89" actId="20577"/>
          <ac:spMkLst>
            <pc:docMk/>
            <pc:sldMk cId="3699205717" sldId="823"/>
            <ac:spMk id="6" creationId="{03DB7BEA-64A9-8BC2-B0AF-DFD61C001233}"/>
          </ac:spMkLst>
        </pc:spChg>
      </pc:sldChg>
      <pc:sldChg chg="modSp addCm modCm">
        <pc:chgData name="Holden Orval d'Evegnee" userId="S::hdevegnee@churchofjesuschrist.org::2df88dc8-6c87-461a-8482-8d296f406766" providerId="AD" clId="Web-{7AE68AE0-B6C3-85AB-1CE8-B3610676BACE}" dt="2023-07-26T17:51:20.565" v="229" actId="20577"/>
        <pc:sldMkLst>
          <pc:docMk/>
          <pc:sldMk cId="3388375151" sldId="826"/>
        </pc:sldMkLst>
        <pc:spChg chg="mod">
          <ac:chgData name="Holden Orval d'Evegnee" userId="S::hdevegnee@churchofjesuschrist.org::2df88dc8-6c87-461a-8482-8d296f406766" providerId="AD" clId="Web-{7AE68AE0-B6C3-85AB-1CE8-B3610676BACE}" dt="2023-07-26T17:51:20.565" v="229" actId="20577"/>
          <ac:spMkLst>
            <pc:docMk/>
            <pc:sldMk cId="3388375151" sldId="826"/>
            <ac:spMk id="6" creationId="{03DB7BEA-64A9-8BC2-B0AF-DFD61C001233}"/>
          </ac:spMkLst>
        </pc:spChg>
        <pc:extLst>
          <p:ext xmlns:p="http://schemas.openxmlformats.org/presentationml/2006/main" uri="{D6D511B9-2390-475A-947B-AFAB55BFBCF1}">
            <pc226:cmChg xmlns:pc226="http://schemas.microsoft.com/office/powerpoint/2022/06/main/command" chg="add mod">
              <pc226:chgData name="Holden Orval d'Evegnee" userId="S::hdevegnee@churchofjesuschrist.org::2df88dc8-6c87-461a-8482-8d296f406766" providerId="AD" clId="Web-{7AE68AE0-B6C3-85AB-1CE8-B3610676BACE}" dt="2023-07-26T17:51:20.565" v="229" actId="20577"/>
              <pc2:cmMkLst xmlns:pc2="http://schemas.microsoft.com/office/powerpoint/2019/9/main/command">
                <pc:docMk/>
                <pc:sldMk cId="3388375151" sldId="826"/>
                <pc2:cmMk id="{100BDAD0-F9A5-491C-958B-7B16034FB4ED}"/>
              </pc2:cmMkLst>
            </pc226:cmChg>
          </p:ext>
        </pc:extLst>
      </pc:sldChg>
      <pc:sldChg chg="modSp">
        <pc:chgData name="Holden Orval d'Evegnee" userId="S::hdevegnee@churchofjesuschrist.org::2df88dc8-6c87-461a-8482-8d296f406766" providerId="AD" clId="Web-{7AE68AE0-B6C3-85AB-1CE8-B3610676BACE}" dt="2023-07-26T16:41:24.378" v="91" actId="20577"/>
        <pc:sldMkLst>
          <pc:docMk/>
          <pc:sldMk cId="787964137" sldId="827"/>
        </pc:sldMkLst>
        <pc:spChg chg="mod">
          <ac:chgData name="Holden Orval d'Evegnee" userId="S::hdevegnee@churchofjesuschrist.org::2df88dc8-6c87-461a-8482-8d296f406766" providerId="AD" clId="Web-{7AE68AE0-B6C3-85AB-1CE8-B3610676BACE}" dt="2023-07-26T16:41:24.378" v="91" actId="20577"/>
          <ac:spMkLst>
            <pc:docMk/>
            <pc:sldMk cId="787964137" sldId="827"/>
            <ac:spMk id="6" creationId="{03DB7BEA-64A9-8BC2-B0AF-DFD61C001233}"/>
          </ac:spMkLst>
        </pc:spChg>
      </pc:sldChg>
      <pc:sldChg chg="modNotes">
        <pc:chgData name="Holden Orval d'Evegnee" userId="S::hdevegnee@churchofjesuschrist.org::2df88dc8-6c87-461a-8482-8d296f406766" providerId="AD" clId="Web-{7AE68AE0-B6C3-85AB-1CE8-B3610676BACE}" dt="2023-07-26T17:51:00.814" v="227"/>
        <pc:sldMkLst>
          <pc:docMk/>
          <pc:sldMk cId="1913996765" sldId="828"/>
        </pc:sldMkLst>
      </pc:sldChg>
      <pc:sldChg chg="modSp">
        <pc:chgData name="Holden Orval d'Evegnee" userId="S::hdevegnee@churchofjesuschrist.org::2df88dc8-6c87-461a-8482-8d296f406766" providerId="AD" clId="Web-{7AE68AE0-B6C3-85AB-1CE8-B3610676BACE}" dt="2023-07-26T15:33:53.592" v="33" actId="20577"/>
        <pc:sldMkLst>
          <pc:docMk/>
          <pc:sldMk cId="2716860405" sldId="830"/>
        </pc:sldMkLst>
        <pc:spChg chg="mod">
          <ac:chgData name="Holden Orval d'Evegnee" userId="S::hdevegnee@churchofjesuschrist.org::2df88dc8-6c87-461a-8482-8d296f406766" providerId="AD" clId="Web-{7AE68AE0-B6C3-85AB-1CE8-B3610676BACE}" dt="2023-07-26T15:33:53.592" v="33" actId="20577"/>
          <ac:spMkLst>
            <pc:docMk/>
            <pc:sldMk cId="2716860405" sldId="830"/>
            <ac:spMk id="7" creationId="{84DCE381-A32C-6D8A-E72B-2D79BB72329D}"/>
          </ac:spMkLst>
        </pc:spChg>
      </pc:sldChg>
      <pc:sldChg chg="modSp modNotes">
        <pc:chgData name="Holden Orval d'Evegnee" userId="S::hdevegnee@churchofjesuschrist.org::2df88dc8-6c87-461a-8482-8d296f406766" providerId="AD" clId="Web-{7AE68AE0-B6C3-85AB-1CE8-B3610676BACE}" dt="2023-07-26T17:58:26.285" v="231"/>
        <pc:sldMkLst>
          <pc:docMk/>
          <pc:sldMk cId="2768504817" sldId="831"/>
        </pc:sldMkLst>
        <pc:spChg chg="mod">
          <ac:chgData name="Holden Orval d'Evegnee" userId="S::hdevegnee@churchofjesuschrist.org::2df88dc8-6c87-461a-8482-8d296f406766" providerId="AD" clId="Web-{7AE68AE0-B6C3-85AB-1CE8-B3610676BACE}" dt="2023-07-26T16:02:13.140" v="48" actId="20577"/>
          <ac:spMkLst>
            <pc:docMk/>
            <pc:sldMk cId="2768504817" sldId="831"/>
            <ac:spMk id="7" creationId="{941A5633-AA7A-14B8-7713-9258B29BC47B}"/>
          </ac:spMkLst>
        </pc:spChg>
      </pc:sldChg>
    </pc:docChg>
  </pc:docChgLst>
  <pc:docChgLst>
    <pc:chgData name="Holden Orval d'Evegnee" userId="S::hdevegnee@churchofjesuschrist.org::2df88dc8-6c87-461a-8482-8d296f406766" providerId="AD" clId="Web-{20C20865-8ACE-AE7E-527B-6697C8403526}"/>
    <pc:docChg chg="mod modSld">
      <pc:chgData name="Holden Orval d'Evegnee" userId="S::hdevegnee@churchofjesuschrist.org::2df88dc8-6c87-461a-8482-8d296f406766" providerId="AD" clId="Web-{20C20865-8ACE-AE7E-527B-6697C8403526}" dt="2023-07-25T17:09:14.790" v="126"/>
      <pc:docMkLst>
        <pc:docMk/>
      </pc:docMkLst>
      <pc:sldChg chg="modSp addCm delCm modCm">
        <pc:chgData name="Holden Orval d'Evegnee" userId="S::hdevegnee@churchofjesuschrist.org::2df88dc8-6c87-461a-8482-8d296f406766" providerId="AD" clId="Web-{20C20865-8ACE-AE7E-527B-6697C8403526}" dt="2023-07-25T16:38:21.062" v="55" actId="20577"/>
        <pc:sldMkLst>
          <pc:docMk/>
          <pc:sldMk cId="1444667122" sldId="782"/>
        </pc:sldMkLst>
        <pc:spChg chg="mod">
          <ac:chgData name="Holden Orval d'Evegnee" userId="S::hdevegnee@churchofjesuschrist.org::2df88dc8-6c87-461a-8482-8d296f406766" providerId="AD" clId="Web-{20C20865-8ACE-AE7E-527B-6697C8403526}" dt="2023-07-25T16:38:21.062" v="55" actId="20577"/>
          <ac:spMkLst>
            <pc:docMk/>
            <pc:sldMk cId="1444667122" sldId="782"/>
            <ac:spMk id="20" creationId="{16521770-80B6-B447-80F3-E433B45DFE28}"/>
          </ac:spMkLst>
        </pc:spChg>
        <pc:extLst>
          <p:ext xmlns:p="http://schemas.openxmlformats.org/presentationml/2006/main" uri="{D6D511B9-2390-475A-947B-AFAB55BFBCF1}">
            <pc226:cmChg xmlns:pc226="http://schemas.microsoft.com/office/powerpoint/2022/06/main/command" chg="add del mod">
              <pc226:chgData name="Holden Orval d'Evegnee" userId="S::hdevegnee@churchofjesuschrist.org::2df88dc8-6c87-461a-8482-8d296f406766" providerId="AD" clId="Web-{20C20865-8ACE-AE7E-527B-6697C8403526}" dt="2023-07-25T16:38:14.186" v="51"/>
              <pc2:cmMkLst xmlns:pc2="http://schemas.microsoft.com/office/powerpoint/2019/9/main/command">
                <pc:docMk/>
                <pc:sldMk cId="1444667122" sldId="782"/>
                <pc2:cmMk id="{2EB7F237-12B3-4207-9926-4D62D51316AF}"/>
              </pc2:cmMkLst>
            </pc226:cmChg>
          </p:ext>
        </pc:extLst>
      </pc:sldChg>
      <pc:sldChg chg="modSp addCm">
        <pc:chgData name="Holden Orval d'Evegnee" userId="S::hdevegnee@churchofjesuschrist.org::2df88dc8-6c87-461a-8482-8d296f406766" providerId="AD" clId="Web-{20C20865-8ACE-AE7E-527B-6697C8403526}" dt="2023-07-25T16:37:12.434" v="50" actId="14100"/>
        <pc:sldMkLst>
          <pc:docMk/>
          <pc:sldMk cId="665768293" sldId="790"/>
        </pc:sldMkLst>
        <pc:spChg chg="mod">
          <ac:chgData name="Holden Orval d'Evegnee" userId="S::hdevegnee@churchofjesuschrist.org::2df88dc8-6c87-461a-8482-8d296f406766" providerId="AD" clId="Web-{20C20865-8ACE-AE7E-527B-6697C8403526}" dt="2023-07-25T16:34:00.989" v="20" actId="20577"/>
          <ac:spMkLst>
            <pc:docMk/>
            <pc:sldMk cId="665768293" sldId="790"/>
            <ac:spMk id="2" creationId="{7A1C276B-2A33-C049-AEF8-5AF88AD11664}"/>
          </ac:spMkLst>
        </pc:spChg>
        <pc:spChg chg="mod">
          <ac:chgData name="Holden Orval d'Evegnee" userId="S::hdevegnee@churchofjesuschrist.org::2df88dc8-6c87-461a-8482-8d296f406766" providerId="AD" clId="Web-{20C20865-8ACE-AE7E-527B-6697C8403526}" dt="2023-07-25T16:34:43.569" v="30" actId="20577"/>
          <ac:spMkLst>
            <pc:docMk/>
            <pc:sldMk cId="665768293" sldId="790"/>
            <ac:spMk id="3" creationId="{2198D0CB-A244-3645-93EF-5E47B40A5F95}"/>
          </ac:spMkLst>
        </pc:spChg>
        <pc:spChg chg="mod">
          <ac:chgData name="Holden Orval d'Evegnee" userId="S::hdevegnee@churchofjesuschrist.org::2df88dc8-6c87-461a-8482-8d296f406766" providerId="AD" clId="Web-{20C20865-8ACE-AE7E-527B-6697C8403526}" dt="2023-07-25T16:37:12.434" v="50" actId="14100"/>
          <ac:spMkLst>
            <pc:docMk/>
            <pc:sldMk cId="665768293" sldId="790"/>
            <ac:spMk id="6" creationId="{BD44D150-ABF4-D14A-BE79-37F452EC4044}"/>
          </ac:spMkLst>
        </pc:spChg>
        <pc:extLst>
          <p:ext xmlns:p="http://schemas.openxmlformats.org/presentationml/2006/main" uri="{D6D511B9-2390-475A-947B-AFAB55BFBCF1}">
            <pc226:cmChg xmlns:pc226="http://schemas.microsoft.com/office/powerpoint/2022/06/main/command" chg="add">
              <pc226:chgData name="Holden Orval d'Evegnee" userId="S::hdevegnee@churchofjesuschrist.org::2df88dc8-6c87-461a-8482-8d296f406766" providerId="AD" clId="Web-{20C20865-8ACE-AE7E-527B-6697C8403526}" dt="2023-07-25T16:33:23.706" v="19"/>
              <pc2:cmMkLst xmlns:pc2="http://schemas.microsoft.com/office/powerpoint/2019/9/main/command">
                <pc:docMk/>
                <pc:sldMk cId="665768293" sldId="790"/>
                <pc2:cmMk id="{4881F169-CBD9-46CB-80C1-EC1055548CC1}"/>
              </pc2:cmMkLst>
            </pc226:cmChg>
          </p:ext>
        </pc:extLst>
      </pc:sldChg>
      <pc:sldChg chg="modSp addCm">
        <pc:chgData name="Holden Orval d'Evegnee" userId="S::hdevegnee@churchofjesuschrist.org::2df88dc8-6c87-461a-8482-8d296f406766" providerId="AD" clId="Web-{20C20865-8ACE-AE7E-527B-6697C8403526}" dt="2023-07-25T16:54:58.179" v="117" actId="20577"/>
        <pc:sldMkLst>
          <pc:docMk/>
          <pc:sldMk cId="1019897426" sldId="793"/>
        </pc:sldMkLst>
        <pc:spChg chg="mod">
          <ac:chgData name="Holden Orval d'Evegnee" userId="S::hdevegnee@churchofjesuschrist.org::2df88dc8-6c87-461a-8482-8d296f406766" providerId="AD" clId="Web-{20C20865-8ACE-AE7E-527B-6697C8403526}" dt="2023-07-25T16:45:05.327" v="60" actId="20577"/>
          <ac:spMkLst>
            <pc:docMk/>
            <pc:sldMk cId="1019897426" sldId="793"/>
            <ac:spMk id="3" creationId="{2198D0CB-A244-3645-93EF-5E47B40A5F95}"/>
          </ac:spMkLst>
        </pc:spChg>
        <pc:spChg chg="mod">
          <ac:chgData name="Holden Orval d'Evegnee" userId="S::hdevegnee@churchofjesuschrist.org::2df88dc8-6c87-461a-8482-8d296f406766" providerId="AD" clId="Web-{20C20865-8ACE-AE7E-527B-6697C8403526}" dt="2023-07-25T16:51:23.155" v="80" actId="20577"/>
          <ac:spMkLst>
            <pc:docMk/>
            <pc:sldMk cId="1019897426" sldId="793"/>
            <ac:spMk id="4" creationId="{F181B19D-8554-ED4C-8221-8D164BD2AE03}"/>
          </ac:spMkLst>
        </pc:spChg>
        <pc:spChg chg="mod">
          <ac:chgData name="Holden Orval d'Evegnee" userId="S::hdevegnee@churchofjesuschrist.org::2df88dc8-6c87-461a-8482-8d296f406766" providerId="AD" clId="Web-{20C20865-8ACE-AE7E-527B-6697C8403526}" dt="2023-07-25T16:54:58.179" v="117" actId="20577"/>
          <ac:spMkLst>
            <pc:docMk/>
            <pc:sldMk cId="1019897426" sldId="793"/>
            <ac:spMk id="5" creationId="{0335E6F8-EF19-6242-8508-519A043B3930}"/>
          </ac:spMkLst>
        </pc:spChg>
        <pc:extLst>
          <p:ext xmlns:p="http://schemas.openxmlformats.org/presentationml/2006/main" uri="{D6D511B9-2390-475A-947B-AFAB55BFBCF1}">
            <pc226:cmChg xmlns:pc226="http://schemas.microsoft.com/office/powerpoint/2022/06/main/command" chg="add">
              <pc226:chgData name="Holden Orval d'Evegnee" userId="S::hdevegnee@churchofjesuschrist.org::2df88dc8-6c87-461a-8482-8d296f406766" providerId="AD" clId="Web-{20C20865-8ACE-AE7E-527B-6697C8403526}" dt="2023-07-25T16:54:03.645" v="116"/>
              <pc2:cmMkLst xmlns:pc2="http://schemas.microsoft.com/office/powerpoint/2019/9/main/command">
                <pc:docMk/>
                <pc:sldMk cId="1019897426" sldId="793"/>
                <pc2:cmMk id="{7ED5D90B-DFE4-4A46-A0B2-9F3B952C237F}"/>
              </pc2:cmMkLst>
            </pc226:cmChg>
            <pc226:cmChg xmlns:pc226="http://schemas.microsoft.com/office/powerpoint/2022/06/main/command" chg="add">
              <pc226:chgData name="Holden Orval d'Evegnee" userId="S::hdevegnee@churchofjesuschrist.org::2df88dc8-6c87-461a-8482-8d296f406766" providerId="AD" clId="Web-{20C20865-8ACE-AE7E-527B-6697C8403526}" dt="2023-07-25T16:45:04.327" v="59"/>
              <pc2:cmMkLst xmlns:pc2="http://schemas.microsoft.com/office/powerpoint/2019/9/main/command">
                <pc:docMk/>
                <pc:sldMk cId="1019897426" sldId="793"/>
                <pc2:cmMk id="{1A98402A-BB04-4826-B6C0-740ACB05AA19}"/>
              </pc2:cmMkLst>
            </pc226:cmChg>
          </p:ext>
        </pc:extLst>
      </pc:sldChg>
      <pc:sldChg chg="modSp addCm modCm">
        <pc:chgData name="Holden Orval d'Evegnee" userId="S::hdevegnee@churchofjesuschrist.org::2df88dc8-6c87-461a-8482-8d296f406766" providerId="AD" clId="Web-{20C20865-8ACE-AE7E-527B-6697C8403526}" dt="2023-07-25T17:09:14.790" v="126"/>
        <pc:sldMkLst>
          <pc:docMk/>
          <pc:sldMk cId="4270646571" sldId="797"/>
        </pc:sldMkLst>
        <pc:spChg chg="mod">
          <ac:chgData name="Holden Orval d'Evegnee" userId="S::hdevegnee@churchofjesuschrist.org::2df88dc8-6c87-461a-8482-8d296f406766" providerId="AD" clId="Web-{20C20865-8ACE-AE7E-527B-6697C8403526}" dt="2023-07-25T17:08:22.648" v="125" actId="20577"/>
          <ac:spMkLst>
            <pc:docMk/>
            <pc:sldMk cId="4270646571" sldId="797"/>
            <ac:spMk id="5" creationId="{7615F437-AACA-9175-406B-64C66D810847}"/>
          </ac:spMkLst>
        </pc:spChg>
        <pc:extLst>
          <p:ext xmlns:p="http://schemas.openxmlformats.org/presentationml/2006/main" uri="{D6D511B9-2390-475A-947B-AFAB55BFBCF1}">
            <pc226:cmChg xmlns:pc226="http://schemas.microsoft.com/office/powerpoint/2022/06/main/command" chg="add mod">
              <pc226:chgData name="Holden Orval d'Evegnee" userId="S::hdevegnee@churchofjesuschrist.org::2df88dc8-6c87-461a-8482-8d296f406766" providerId="AD" clId="Web-{20C20865-8ACE-AE7E-527B-6697C8403526}" dt="2023-07-25T17:01:44.367" v="124" actId="20577"/>
              <pc2:cmMkLst xmlns:pc2="http://schemas.microsoft.com/office/powerpoint/2019/9/main/command">
                <pc:docMk/>
                <pc:sldMk cId="4270646571" sldId="797"/>
                <pc2:cmMk id="{ED4D19AF-282D-42BA-BF7D-38765AA3C730}"/>
              </pc2:cmMkLst>
            </pc226:cmChg>
            <pc226:cmChg xmlns:pc226="http://schemas.microsoft.com/office/powerpoint/2022/06/main/command" chg="add">
              <pc226:chgData name="Holden Orval d'Evegnee" userId="S::hdevegnee@churchofjesuschrist.org::2df88dc8-6c87-461a-8482-8d296f406766" providerId="AD" clId="Web-{20C20865-8ACE-AE7E-527B-6697C8403526}" dt="2023-07-25T17:09:14.790" v="126"/>
              <pc2:cmMkLst xmlns:pc2="http://schemas.microsoft.com/office/powerpoint/2019/9/main/command">
                <pc:docMk/>
                <pc:sldMk cId="4270646571" sldId="797"/>
                <pc2:cmMk id="{21D0A6DB-9DF0-464F-AE3C-150D80B6BEF6}"/>
              </pc2:cmMkLst>
            </pc226:cmChg>
          </p:ext>
        </pc:extLst>
      </pc:sldChg>
    </pc:docChg>
  </pc:docChgLst>
  <pc:docChgLst>
    <pc:chgData name="Heidi Jean Harms" userId="S::heidiharms@churchofjesuschrist.org::b7342844-2534-4d4b-8710-0632f461dd8c" providerId="AD" clId="Web-{AB9EE086-531F-091D-EF2E-817AE14B2620}"/>
    <pc:docChg chg="modSld">
      <pc:chgData name="Heidi Jean Harms" userId="S::heidiharms@churchofjesuschrist.org::b7342844-2534-4d4b-8710-0632f461dd8c" providerId="AD" clId="Web-{AB9EE086-531F-091D-EF2E-817AE14B2620}" dt="2023-07-26T16:58:24.314" v="40" actId="14100"/>
      <pc:docMkLst>
        <pc:docMk/>
      </pc:docMkLst>
      <pc:sldChg chg="modSp">
        <pc:chgData name="Heidi Jean Harms" userId="S::heidiharms@churchofjesuschrist.org::b7342844-2534-4d4b-8710-0632f461dd8c" providerId="AD" clId="Web-{AB9EE086-531F-091D-EF2E-817AE14B2620}" dt="2023-07-26T16:58:13.329" v="39" actId="20577"/>
        <pc:sldMkLst>
          <pc:docMk/>
          <pc:sldMk cId="2180367955" sldId="660"/>
        </pc:sldMkLst>
        <pc:spChg chg="mod">
          <ac:chgData name="Heidi Jean Harms" userId="S::heidiharms@churchofjesuschrist.org::b7342844-2534-4d4b-8710-0632f461dd8c" providerId="AD" clId="Web-{AB9EE086-531F-091D-EF2E-817AE14B2620}" dt="2023-07-26T16:58:13.329" v="39" actId="20577"/>
          <ac:spMkLst>
            <pc:docMk/>
            <pc:sldMk cId="2180367955" sldId="660"/>
            <ac:spMk id="4" creationId="{B584CEB7-306D-9D4B-8A46-9E23D7A9C839}"/>
          </ac:spMkLst>
        </pc:spChg>
      </pc:sldChg>
      <pc:sldChg chg="modSp">
        <pc:chgData name="Heidi Jean Harms" userId="S::heidiharms@churchofjesuschrist.org::b7342844-2534-4d4b-8710-0632f461dd8c" providerId="AD" clId="Web-{AB9EE086-531F-091D-EF2E-817AE14B2620}" dt="2023-07-26T16:58:24.314" v="40" actId="14100"/>
        <pc:sldMkLst>
          <pc:docMk/>
          <pc:sldMk cId="3072156505" sldId="768"/>
        </pc:sldMkLst>
        <pc:spChg chg="mod">
          <ac:chgData name="Heidi Jean Harms" userId="S::heidiharms@churchofjesuschrist.org::b7342844-2534-4d4b-8710-0632f461dd8c" providerId="AD" clId="Web-{AB9EE086-531F-091D-EF2E-817AE14B2620}" dt="2023-07-26T16:58:24.314" v="40" actId="14100"/>
          <ac:spMkLst>
            <pc:docMk/>
            <pc:sldMk cId="3072156505" sldId="768"/>
            <ac:spMk id="6" creationId="{EC4FCF43-E4C8-D64C-86C6-C8705D0B98CC}"/>
          </ac:spMkLst>
        </pc:spChg>
      </pc:sldChg>
      <pc:sldChg chg="modSp">
        <pc:chgData name="Heidi Jean Harms" userId="S::heidiharms@churchofjesuschrist.org::b7342844-2534-4d4b-8710-0632f461dd8c" providerId="AD" clId="Web-{AB9EE086-531F-091D-EF2E-817AE14B2620}" dt="2023-07-26T16:54:43.890" v="34" actId="1076"/>
        <pc:sldMkLst>
          <pc:docMk/>
          <pc:sldMk cId="2999881190" sldId="788"/>
        </pc:sldMkLst>
        <pc:spChg chg="mod">
          <ac:chgData name="Heidi Jean Harms" userId="S::heidiharms@churchofjesuschrist.org::b7342844-2534-4d4b-8710-0632f461dd8c" providerId="AD" clId="Web-{AB9EE086-531F-091D-EF2E-817AE14B2620}" dt="2023-07-26T16:54:43.890" v="34" actId="1076"/>
          <ac:spMkLst>
            <pc:docMk/>
            <pc:sldMk cId="2999881190" sldId="788"/>
            <ac:spMk id="2" creationId="{29993704-1A86-D204-ACD4-3DE44E38FA59}"/>
          </ac:spMkLst>
        </pc:spChg>
      </pc:sldChg>
      <pc:sldChg chg="modSp">
        <pc:chgData name="Heidi Jean Harms" userId="S::heidiharms@churchofjesuschrist.org::b7342844-2534-4d4b-8710-0632f461dd8c" providerId="AD" clId="Web-{AB9EE086-531F-091D-EF2E-817AE14B2620}" dt="2023-07-26T16:48:21.355" v="0" actId="1076"/>
        <pc:sldMkLst>
          <pc:docMk/>
          <pc:sldMk cId="665768293" sldId="790"/>
        </pc:sldMkLst>
        <pc:spChg chg="mod">
          <ac:chgData name="Heidi Jean Harms" userId="S::heidiharms@churchofjesuschrist.org::b7342844-2534-4d4b-8710-0632f461dd8c" providerId="AD" clId="Web-{AB9EE086-531F-091D-EF2E-817AE14B2620}" dt="2023-07-26T16:48:21.355" v="0" actId="1076"/>
          <ac:spMkLst>
            <pc:docMk/>
            <pc:sldMk cId="665768293" sldId="790"/>
            <ac:spMk id="6" creationId="{BD44D150-ABF4-D14A-BE79-37F452EC4044}"/>
          </ac:spMkLst>
        </pc:spChg>
      </pc:sldChg>
      <pc:sldChg chg="modSp">
        <pc:chgData name="Heidi Jean Harms" userId="S::heidiharms@churchofjesuschrist.org::b7342844-2534-4d4b-8710-0632f461dd8c" providerId="AD" clId="Web-{AB9EE086-531F-091D-EF2E-817AE14B2620}" dt="2023-07-26T16:49:28.918" v="3" actId="1076"/>
        <pc:sldMkLst>
          <pc:docMk/>
          <pc:sldMk cId="3075817669" sldId="805"/>
        </pc:sldMkLst>
        <pc:spChg chg="mod">
          <ac:chgData name="Heidi Jean Harms" userId="S::heidiharms@churchofjesuschrist.org::b7342844-2534-4d4b-8710-0632f461dd8c" providerId="AD" clId="Web-{AB9EE086-531F-091D-EF2E-817AE14B2620}" dt="2023-07-26T16:49:09.293" v="2" actId="20577"/>
          <ac:spMkLst>
            <pc:docMk/>
            <pc:sldMk cId="3075817669" sldId="805"/>
            <ac:spMk id="5" creationId="{85A8D91E-9E2B-3E60-BC05-352ECCCECD29}"/>
          </ac:spMkLst>
        </pc:spChg>
        <pc:picChg chg="mod">
          <ac:chgData name="Heidi Jean Harms" userId="S::heidiharms@churchofjesuschrist.org::b7342844-2534-4d4b-8710-0632f461dd8c" providerId="AD" clId="Web-{AB9EE086-531F-091D-EF2E-817AE14B2620}" dt="2023-07-26T16:49:28.918" v="3" actId="1076"/>
          <ac:picMkLst>
            <pc:docMk/>
            <pc:sldMk cId="3075817669" sldId="805"/>
            <ac:picMk id="14" creationId="{50D12EBC-6B69-6CDD-13CD-B93740B79817}"/>
          </ac:picMkLst>
        </pc:picChg>
      </pc:sldChg>
      <pc:sldChg chg="modSp">
        <pc:chgData name="Heidi Jean Harms" userId="S::heidiharms@churchofjesuschrist.org::b7342844-2534-4d4b-8710-0632f461dd8c" providerId="AD" clId="Web-{AB9EE086-531F-091D-EF2E-817AE14B2620}" dt="2023-07-26T16:54:30.468" v="33" actId="1076"/>
        <pc:sldMkLst>
          <pc:docMk/>
          <pc:sldMk cId="3056659758" sldId="817"/>
        </pc:sldMkLst>
        <pc:spChg chg="mod">
          <ac:chgData name="Heidi Jean Harms" userId="S::heidiharms@churchofjesuschrist.org::b7342844-2534-4d4b-8710-0632f461dd8c" providerId="AD" clId="Web-{AB9EE086-531F-091D-EF2E-817AE14B2620}" dt="2023-07-26T16:54:30.468" v="33" actId="1076"/>
          <ac:spMkLst>
            <pc:docMk/>
            <pc:sldMk cId="3056659758" sldId="817"/>
            <ac:spMk id="10" creationId="{8A83D00C-10EA-BDD4-8B23-F2598E0AD45B}"/>
          </ac:spMkLst>
        </pc:spChg>
      </pc:sldChg>
      <pc:sldChg chg="modSp">
        <pc:chgData name="Heidi Jean Harms" userId="S::heidiharms@churchofjesuschrist.org::b7342844-2534-4d4b-8710-0632f461dd8c" providerId="AD" clId="Web-{AB9EE086-531F-091D-EF2E-817AE14B2620}" dt="2023-07-26T16:50:50.934" v="6" actId="1076"/>
        <pc:sldMkLst>
          <pc:docMk/>
          <pc:sldMk cId="3569784783" sldId="819"/>
        </pc:sldMkLst>
        <pc:spChg chg="mod">
          <ac:chgData name="Heidi Jean Harms" userId="S::heidiharms@churchofjesuschrist.org::b7342844-2534-4d4b-8710-0632f461dd8c" providerId="AD" clId="Web-{AB9EE086-531F-091D-EF2E-817AE14B2620}" dt="2023-07-26T16:50:50.934" v="6" actId="1076"/>
          <ac:spMkLst>
            <pc:docMk/>
            <pc:sldMk cId="3569784783" sldId="819"/>
            <ac:spMk id="27" creationId="{061D94E2-836E-EE4F-AC2E-903DE5C55B97}"/>
          </ac:spMkLst>
        </pc:spChg>
        <pc:picChg chg="mod">
          <ac:chgData name="Heidi Jean Harms" userId="S::heidiharms@churchofjesuschrist.org::b7342844-2534-4d4b-8710-0632f461dd8c" providerId="AD" clId="Web-{AB9EE086-531F-091D-EF2E-817AE14B2620}" dt="2023-07-26T16:50:45.950" v="5" actId="1076"/>
          <ac:picMkLst>
            <pc:docMk/>
            <pc:sldMk cId="3569784783" sldId="819"/>
            <ac:picMk id="21" creationId="{35A9E54B-D6E0-9249-69DD-E5E96D4812DE}"/>
          </ac:picMkLst>
        </pc:picChg>
      </pc:sldChg>
      <pc:sldChg chg="modSp modCm">
        <pc:chgData name="Heidi Jean Harms" userId="S::heidiharms@churchofjesuschrist.org::b7342844-2534-4d4b-8710-0632f461dd8c" providerId="AD" clId="Web-{AB9EE086-531F-091D-EF2E-817AE14B2620}" dt="2023-07-26T16:53:16.326" v="32" actId="20577"/>
        <pc:sldMkLst>
          <pc:docMk/>
          <pc:sldMk cId="1652657516" sldId="820"/>
        </pc:sldMkLst>
        <pc:spChg chg="mod">
          <ac:chgData name="Heidi Jean Harms" userId="S::heidiharms@churchofjesuschrist.org::b7342844-2534-4d4b-8710-0632f461dd8c" providerId="AD" clId="Web-{AB9EE086-531F-091D-EF2E-817AE14B2620}" dt="2023-07-26T16:51:09.919" v="8" actId="20577"/>
          <ac:spMkLst>
            <pc:docMk/>
            <pc:sldMk cId="1652657516" sldId="820"/>
            <ac:spMk id="15" creationId="{BE770EFB-6961-C091-C1B2-C551AA033ED2}"/>
          </ac:spMkLst>
        </pc:spChg>
        <pc:spChg chg="mod">
          <ac:chgData name="Heidi Jean Harms" userId="S::heidiharms@churchofjesuschrist.org::b7342844-2534-4d4b-8710-0632f461dd8c" providerId="AD" clId="Web-{AB9EE086-531F-091D-EF2E-817AE14B2620}" dt="2023-07-26T16:51:28.763" v="16" actId="20577"/>
          <ac:spMkLst>
            <pc:docMk/>
            <pc:sldMk cId="1652657516" sldId="820"/>
            <ac:spMk id="16" creationId="{EFA081FD-9098-3A38-3995-211EBEBA672C}"/>
          </ac:spMkLst>
        </pc:spChg>
        <pc:spChg chg="mod">
          <ac:chgData name="Heidi Jean Harms" userId="S::heidiharms@churchofjesuschrist.org::b7342844-2534-4d4b-8710-0632f461dd8c" providerId="AD" clId="Web-{AB9EE086-531F-091D-EF2E-817AE14B2620}" dt="2023-07-26T16:51:16.747" v="10" actId="20577"/>
          <ac:spMkLst>
            <pc:docMk/>
            <pc:sldMk cId="1652657516" sldId="820"/>
            <ac:spMk id="17" creationId="{971D078D-E770-9DDC-AAA4-4C5521326957}"/>
          </ac:spMkLst>
        </pc:spChg>
        <pc:spChg chg="mod">
          <ac:chgData name="Heidi Jean Harms" userId="S::heidiharms@churchofjesuschrist.org::b7342844-2534-4d4b-8710-0632f461dd8c" providerId="AD" clId="Web-{AB9EE086-531F-091D-EF2E-817AE14B2620}" dt="2023-07-26T16:53:16.326" v="32" actId="20577"/>
          <ac:spMkLst>
            <pc:docMk/>
            <pc:sldMk cId="1652657516" sldId="820"/>
            <ac:spMk id="18" creationId="{E5360234-A6FA-4FE7-3C0B-C21B407E304B}"/>
          </ac:spMkLst>
        </pc:spChg>
        <pc:extLst>
          <p:ext xmlns:p="http://schemas.openxmlformats.org/presentationml/2006/main" uri="{D6D511B9-2390-475A-947B-AFAB55BFBCF1}">
            <pc226:cmChg xmlns:pc226="http://schemas.microsoft.com/office/powerpoint/2022/06/main/command" chg="mod">
              <pc226:chgData name="Heidi Jean Harms" userId="S::heidiharms@churchofjesuschrist.org::b7342844-2534-4d4b-8710-0632f461dd8c" providerId="AD" clId="Web-{AB9EE086-531F-091D-EF2E-817AE14B2620}" dt="2023-07-26T16:51:23.982" v="14" actId="20577"/>
              <pc2:cmMkLst xmlns:pc2="http://schemas.microsoft.com/office/powerpoint/2019/9/main/command">
                <pc:docMk/>
                <pc:sldMk cId="1652657516" sldId="820"/>
                <pc2:cmMk id="{33F0B04F-654E-434C-9FFA-64128FAADCD4}"/>
              </pc2:cmMkLst>
            </pc226:cmChg>
          </p:ext>
        </pc:extLst>
      </pc:sldChg>
    </pc:docChg>
  </pc:docChgLst>
  <pc:docChgLst>
    <pc:chgData name="Kamile Walker" userId="S::kamiwalker@churchofjesuschrist.org::a6eb77e7-33bd-4c57-a3cf-538d131ebd75" providerId="AD" clId="Web-{BBE0BD52-EE8E-0955-E725-F2E8EC1212CD}"/>
    <pc:docChg chg="delSld modSection">
      <pc:chgData name="Kamile Walker" userId="S::kamiwalker@churchofjesuschrist.org::a6eb77e7-33bd-4c57-a3cf-538d131ebd75" providerId="AD" clId="Web-{BBE0BD52-EE8E-0955-E725-F2E8EC1212CD}" dt="2023-08-10T14:30:22.697" v="1"/>
      <pc:docMkLst>
        <pc:docMk/>
      </pc:docMkLst>
      <pc:sldChg chg="del">
        <pc:chgData name="Kamile Walker" userId="S::kamiwalker@churchofjesuschrist.org::a6eb77e7-33bd-4c57-a3cf-538d131ebd75" providerId="AD" clId="Web-{BBE0BD52-EE8E-0955-E725-F2E8EC1212CD}" dt="2023-08-10T14:30:09.040" v="0"/>
        <pc:sldMkLst>
          <pc:docMk/>
          <pc:sldMk cId="2079432252" sldId="832"/>
        </pc:sldMkLst>
      </pc:sldChg>
      <pc:sldChg chg="del">
        <pc:chgData name="Kamile Walker" userId="S::kamiwalker@churchofjesuschrist.org::a6eb77e7-33bd-4c57-a3cf-538d131ebd75" providerId="AD" clId="Web-{BBE0BD52-EE8E-0955-E725-F2E8EC1212CD}" dt="2023-08-10T14:30:22.697" v="1"/>
        <pc:sldMkLst>
          <pc:docMk/>
          <pc:sldMk cId="3663336088" sldId="83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594-634F-B02F-DDD49E018ABE}"/>
              </c:ext>
            </c:extLst>
          </c:dPt>
          <c:dPt>
            <c:idx val="1"/>
            <c:bubble3D val="0"/>
            <c:spPr>
              <a:solidFill>
                <a:schemeClr val="accent6">
                  <a:lumMod val="10000"/>
                  <a:lumOff val="90000"/>
                </a:schemeClr>
              </a:solidFill>
              <a:ln w="19050">
                <a:solidFill>
                  <a:schemeClr val="lt1"/>
                </a:solidFill>
              </a:ln>
              <a:effectLst/>
            </c:spPr>
            <c:extLst>
              <c:ext xmlns:c16="http://schemas.microsoft.com/office/drawing/2014/chart" uri="{C3380CC4-5D6E-409C-BE32-E72D297353CC}">
                <c16:uniqueId val="{00000002-589C-D14E-85C5-73EDE130501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594-634F-B02F-DDD49E018AB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594-634F-B02F-DDD49E018ABE}"/>
              </c:ext>
            </c:extLst>
          </c:dPt>
          <c:cat>
            <c:numRef>
              <c:f>Sheet1!$A$2:$A$5</c:f>
              <c:numCache>
                <c:formatCode>General</c:formatCode>
                <c:ptCount val="4"/>
              </c:numCache>
            </c:numRef>
          </c:cat>
          <c:val>
            <c:numRef>
              <c:f>Sheet1!$B$2:$B$5</c:f>
              <c:numCache>
                <c:formatCode>General</c:formatCode>
                <c:ptCount val="4"/>
                <c:pt idx="0">
                  <c:v>94</c:v>
                </c:pt>
                <c:pt idx="1">
                  <c:v>6</c:v>
                </c:pt>
              </c:numCache>
            </c:numRef>
          </c:val>
          <c:extLst>
            <c:ext xmlns:c16="http://schemas.microsoft.com/office/drawing/2014/chart" uri="{C3380CC4-5D6E-409C-BE32-E72D297353CC}">
              <c16:uniqueId val="{00000000-589C-D14E-85C5-73EDE130501C}"/>
            </c:ext>
          </c:extLst>
        </c:ser>
        <c:dLbls>
          <c:showLegendKey val="0"/>
          <c:showVal val="0"/>
          <c:showCatName val="0"/>
          <c:showSerName val="0"/>
          <c:showPercent val="0"/>
          <c:showBubbleSize val="0"/>
          <c:showLeaderLines val="1"/>
        </c:dLbls>
        <c:firstSliceAng val="45"/>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12_96793EE4.xml><?xml version="1.0" encoding="utf-8"?>
<p188:cmLst xmlns:a="http://schemas.openxmlformats.org/drawingml/2006/main" xmlns:r="http://schemas.openxmlformats.org/officeDocument/2006/relationships" xmlns:p188="http://schemas.microsoft.com/office/powerpoint/2018/8/main">
  <p188:cm id="{5307E6FA-4062-4A8A-BF3D-836E454E5A41}" authorId="{CC7FC594-84DC-F570-4BCB-2191BF6A448C}" created="2023-07-26T18:00:39.232">
    <pc:sldMkLst xmlns:pc="http://schemas.microsoft.com/office/powerpoint/2013/main/command">
      <pc:docMk/>
      <pc:sldMk cId="2524528356" sldId="274"/>
    </pc:sldMkLst>
    <p188:txBody>
      <a:bodyPr/>
      <a:lstStyle/>
      <a:p>
        <a:r>
          <a:rPr lang="en-US"/>
          <a:t>If what is meant is the program of "ministering" then this should read "service pastoral"</a:t>
        </a:r>
      </a:p>
    </p188:txBody>
  </p188:cm>
</p188:cmLst>
</file>

<file path=ppt/comments/modernComment_293_9EA8D1A1.xml><?xml version="1.0" encoding="utf-8"?>
<p188:cmLst xmlns:a="http://schemas.openxmlformats.org/drawingml/2006/main" xmlns:r="http://schemas.openxmlformats.org/officeDocument/2006/relationships" xmlns:p188="http://schemas.microsoft.com/office/powerpoint/2018/8/main">
  <p188:cm id="{091A79F7-B0B4-46B7-A008-EAF310EA9F74}" authorId="{CC7FC594-84DC-F570-4BCB-2191BF6A448C}" created="2023-07-26T16:39:19.494">
    <ac:txMkLst xmlns:ac="http://schemas.microsoft.com/office/drawing/2013/main/command">
      <pc:docMk xmlns:pc="http://schemas.microsoft.com/office/powerpoint/2013/main/command"/>
      <pc:sldMk xmlns:pc="http://schemas.microsoft.com/office/powerpoint/2013/main/command" cId="2661863841" sldId="659"/>
      <ac:spMk id="4" creationId="{B584CEB7-306D-9D4B-8A46-9E23D7A9C839}"/>
      <ac:txMk cp="52" len="5">
        <ac:context len="670" hash="3944347952"/>
      </ac:txMk>
    </ac:txMkLst>
    <p188:pos x="6148191" y="271397"/>
    <p188:txBody>
      <a:bodyPr/>
      <a:lstStyle/>
      <a:p>
        <a:r>
          <a:rPr lang="en-US"/>
          <a:t>Because university is a feminine word, I believe BYU-Pathway would also be feminine. Elsewhere in this slideshow it has been treated as feminine, but it is inconsistent. I'm noting here that I have gone through and made all references to BYU-Pathway feminine.</a:t>
        </a:r>
      </a:p>
    </p188:txBody>
  </p188:cm>
  <p188:cm id="{4213945C-077D-4CD4-9DD2-BAEF32A8FFAA}" authorId="{CC7FC594-84DC-F570-4BCB-2191BF6A448C}" created="2023-07-26T16:47:44.485">
    <ac:txMkLst xmlns:ac="http://schemas.microsoft.com/office/drawing/2013/main/command">
      <pc:docMk xmlns:pc="http://schemas.microsoft.com/office/powerpoint/2013/main/command"/>
      <pc:sldMk xmlns:pc="http://schemas.microsoft.com/office/powerpoint/2013/main/command" cId="2661863841" sldId="659"/>
      <ac:spMk id="4" creationId="{B584CEB7-306D-9D4B-8A46-9E23D7A9C839}"/>
      <ac:txMk cp="105" len="10">
        <ac:context len="670" hash="3944347952"/>
      </ac:txMk>
    </ac:txMkLst>
    <p188:pos x="5835041" y="574109"/>
    <p188:txBody>
      <a:bodyPr/>
      <a:lstStyle/>
      <a:p>
        <a:r>
          <a:rPr lang="en-US"/>
          <a:t>This is referring to the ministry of Church leaders in the general, Christian sense of "ministry." If you want to refer to the program of "ministering" then this should read something like, "un outil puissant dans les efforts de service pastoral des dirigeants de l'Église"</a:t>
        </a:r>
      </a:p>
    </p188:txBody>
  </p188:cm>
</p188:cmLst>
</file>

<file path=ppt/comments/modernComment_294_81F5C653.xml><?xml version="1.0" encoding="utf-8"?>
<p188:cmLst xmlns:a="http://schemas.openxmlformats.org/drawingml/2006/main" xmlns:r="http://schemas.openxmlformats.org/officeDocument/2006/relationships" xmlns:p188="http://schemas.microsoft.com/office/powerpoint/2018/8/main">
  <p188:cm id="{592ADB8B-2355-4593-AD96-8B9029478531}" authorId="{CC7FC594-84DC-F570-4BCB-2191BF6A448C}" created="2023-07-26T17:24:40.103">
    <ac:txMkLst xmlns:ac="http://schemas.microsoft.com/office/drawing/2013/main/command">
      <pc:docMk xmlns:pc="http://schemas.microsoft.com/office/powerpoint/2013/main/command"/>
      <pc:sldMk xmlns:pc="http://schemas.microsoft.com/office/powerpoint/2013/main/command" cId="2180367955" sldId="660"/>
      <ac:spMk id="4" creationId="{B584CEB7-306D-9D4B-8A46-9E23D7A9C839}"/>
      <ac:txMk cp="509" len="134">
        <ac:context len="644" hash="1205138228"/>
      </ac:txMk>
    </ac:txMkLst>
    <p188:pos x="5708542" y="4985288"/>
    <p188:txBody>
      <a:bodyPr/>
      <a:lstStyle/>
      <a:p>
        <a:r>
          <a:rPr lang="en-US"/>
          <a:t>This sentence is saying that "BYU-Pathway can bless people who [already] have a connection with the church" instead of saying that "BYU-Pathway can bless people [to have/by giving them] a connection to the church."
The sentence should say something like, "BYU-Pathway peut bénir les personnes en leur donnant un lien avec l’Église en leur fournissant une éducation universitaire basée sur la spiritualité."</a:t>
        </a:r>
      </a:p>
    </p188:txBody>
  </p188:cm>
</p188:cmLst>
</file>

<file path=ppt/comments/modernComment_2C4_4EFEF1D4.xml><?xml version="1.0" encoding="utf-8"?>
<p188:cmLst xmlns:a="http://schemas.openxmlformats.org/drawingml/2006/main" xmlns:r="http://schemas.openxmlformats.org/officeDocument/2006/relationships" xmlns:p188="http://schemas.microsoft.com/office/powerpoint/2018/8/main">
  <p188:cm id="{7096199E-317A-44C0-862B-D87A5486DAD2}" authorId="{B3D1B85B-17E4-EE27-E05D-40C5009AA99C}" created="2023-07-25T15:27:57.342">
    <pc:sldMkLst xmlns:pc="http://schemas.microsoft.com/office/powerpoint/2013/main/command">
      <pc:docMk/>
      <pc:sldMk cId="1325330900" sldId="708"/>
    </pc:sldMkLst>
    <p188:replyLst>
      <p188:reply id="{43197740-D1DC-4D37-8269-FB603AB42103}" authorId="{B3D1B85B-17E4-EE27-E05D-40C5009AA99C}" created="2023-07-25T15:28:18.374">
        <p188:txBody>
          <a:bodyPr/>
          <a:lstStyle/>
          <a:p>
            <a:r>
              <a:rPr lang="en-US"/>
              <a:t>The type runs into President Nelson's name. </a:t>
            </a:r>
          </a:p>
        </p188:txBody>
      </p188:reply>
      <p188:reply id="{69E65E43-5A73-4088-9A89-6182B5301A7B}" authorId="{B3D1B85B-17E4-EE27-E05D-40C5009AA99C}" created="2023-07-25T15:28:50.421">
        <p188:txBody>
          <a:bodyPr/>
          <a:lstStyle/>
          <a:p>
            <a:r>
              <a:rPr lang="en-US"/>
              <a:t>Also, I think the last line needs to be moved up to the one with BYU-Idaho. The comma is hanging out there.</a:t>
            </a:r>
          </a:p>
        </p188:txBody>
      </p188:reply>
    </p188:replyLst>
    <p188:txBody>
      <a:bodyPr/>
      <a:lstStyle/>
      <a:p>
        <a:r>
          <a:rPr lang="en-US"/>
          <a:t>There is a missing quotation mark at the end of the quote.</a:t>
        </a:r>
      </a:p>
    </p188:txBody>
  </p188:cm>
</p188:cmLst>
</file>

<file path=ppt/comments/modernComment_2C7_EA05BB82.xml><?xml version="1.0" encoding="utf-8"?>
<p188:cmLst xmlns:a="http://schemas.openxmlformats.org/drawingml/2006/main" xmlns:r="http://schemas.openxmlformats.org/officeDocument/2006/relationships" xmlns:p188="http://schemas.microsoft.com/office/powerpoint/2018/8/main">
  <p188:cm id="{C4B25FC3-3318-CC4B-A53F-B88E0CAC84E9}" authorId="{B885D405-1711-1831-477F-C787C7AED583}" status="resolved" created="2023-04-04T16:24:55.112" complete="100000">
    <pc:sldMkLst xmlns:pc="http://schemas.microsoft.com/office/powerpoint/2013/main/command">
      <pc:docMk/>
      <pc:sldMk cId="114471993" sldId="711"/>
    </pc:sldMkLst>
    <p188:txBody>
      <a:bodyPr/>
      <a:lstStyle/>
      <a:p>
        <a:r>
          <a:rPr lang="en-US"/>
          <a:t>Optional resource</a:t>
        </a:r>
      </a:p>
    </p188:txBody>
  </p188:cm>
</p188:cmLst>
</file>

<file path=ppt/comments/modernComment_300_B71D6359.xml><?xml version="1.0" encoding="utf-8"?>
<p188:cmLst xmlns:a="http://schemas.openxmlformats.org/drawingml/2006/main" xmlns:r="http://schemas.openxmlformats.org/officeDocument/2006/relationships" xmlns:p188="http://schemas.microsoft.com/office/powerpoint/2018/8/main">
  <p188:cm id="{BF7020DD-15D0-CD48-96B1-845139ACCB09}" authorId="{B885D405-1711-1831-477F-C787C7AED583}" created="2023-04-04T16:48:16.700">
    <pc:sldMkLst xmlns:pc="http://schemas.microsoft.com/office/powerpoint/2013/main/command">
      <pc:docMk/>
      <pc:sldMk cId="3072156505" sldId="768"/>
    </pc:sldMkLst>
    <p188:replyLst>
      <p188:reply id="{E6578F57-955A-427B-A59F-18AC3F6CE6DC}" authorId="{FED73FBC-A036-D1F6-3299-491A76AB1ED9}" created="2023-06-22T18:43:42.886">
        <p188:txBody>
          <a:bodyPr/>
          <a:lstStyle/>
          <a:p>
            <a:r>
              <a:rPr lang="en-US"/>
              <a:t>[@Krista Tripodi] is Brian's comment something I need to do or has it been done?</a:t>
            </a:r>
          </a:p>
        </p188:txBody>
      </p188:reply>
      <p188:reply id="{139ADC0B-C20C-4BD8-B4C8-F6B0DFA3944B}" authorId="{7F53F03F-B685-1726-08D6-9131CED005D3}" created="2023-06-22T19:19:23.377">
        <p188:txBody>
          <a:bodyPr/>
          <a:lstStyle/>
          <a:p>
            <a:r>
              <a:rPr lang="en-US"/>
              <a:t>[@Eric Eames] can you confirm if this branding and these icons are the latest? </a:t>
            </a:r>
          </a:p>
        </p188:txBody>
      </p188:reply>
      <p188:reply id="{BE76BD55-2740-184A-BA92-5D7323EF2EE1}" authorId="{7F53F03F-B685-1726-08D6-9131CED005D3}" created="2023-06-29T22:30:27.350">
        <p188:txBody>
          <a:bodyPr/>
          <a:lstStyle/>
          <a:p>
            <a:r>
              <a:rPr lang="en-US"/>
              <a:t>[@Kamile Walker] Eric is going to send you some new graphics/images to replace these icons. </a:t>
            </a:r>
          </a:p>
        </p188:txBody>
      </p188:reply>
      <p188:reply id="{F7BB7820-ED79-4CE3-A738-3159D13C0563}" authorId="{FED73FBC-A036-D1F6-3299-491A76AB1ED9}" created="2023-06-29T22:37:12.486">
        <p188:txBody>
          <a:bodyPr/>
          <a:lstStyle/>
          <a:p>
            <a:r>
              <a:rPr lang="en-US"/>
              <a:t>[@Krista Tripodi] I will add them once I receive them. Are they different from what is in the EC icon library? I have access to those icons but they look the same as these. </a:t>
            </a:r>
          </a:p>
        </p188:txBody>
      </p188:reply>
    </p188:replyLst>
    <p188:txBody>
      <a:bodyPr/>
      <a:lstStyle/>
      <a:p>
        <a:r>
          <a:rPr lang="en-US"/>
          <a:t>Swap out icons and update branding</a:t>
        </a:r>
      </a:p>
    </p188:txBody>
  </p188:cm>
</p188:cmLst>
</file>

<file path=ppt/comments/modernComment_301_1BAB5F3.xml><?xml version="1.0" encoding="utf-8"?>
<p188:cmLst xmlns:a="http://schemas.openxmlformats.org/drawingml/2006/main" xmlns:r="http://schemas.openxmlformats.org/officeDocument/2006/relationships" xmlns:p188="http://schemas.microsoft.com/office/powerpoint/2018/8/main">
  <p188:cm id="{CE84F90C-76A4-4233-9C69-17FE4FB79C99}" authorId="{72C0B539-49F2-F39A-CA35-868BD0F2DB07}" status="resolved" created="2023-06-22T19:55:37.754" complete="100000">
    <pc:sldMkLst xmlns:pc="http://schemas.microsoft.com/office/powerpoint/2013/main/command">
      <pc:docMk/>
      <pc:sldMk cId="29013491" sldId="769"/>
    </pc:sldMkLst>
    <p188:txBody>
      <a:bodyPr/>
      <a:lstStyle/>
      <a:p>
        <a:r>
          <a:rPr lang="en-US"/>
          <a:t>Removed periods since these are acting as bullets that are incomplete sentences</a:t>
        </a:r>
      </a:p>
    </p188:txBody>
  </p188:cm>
  <p188:cm id="{1F5644EC-30EA-4658-B3AA-BC63D78E98FA}" authorId="{B3D1B85B-17E4-EE27-E05D-40C5009AA99C}" created="2023-07-25T15:32:33.800">
    <ac:deMkLst xmlns:ac="http://schemas.microsoft.com/office/drawing/2013/main/command">
      <pc:docMk xmlns:pc="http://schemas.microsoft.com/office/powerpoint/2013/main/command"/>
      <pc:sldMk xmlns:pc="http://schemas.microsoft.com/office/powerpoint/2013/main/command" cId="29013491" sldId="769"/>
      <ac:spMk id="3" creationId="{D8403070-DEEB-8143-B9ED-F146907EEFC3}"/>
    </ac:deMkLst>
    <p188:txBody>
      <a:bodyPr/>
      <a:lstStyle/>
      <a:p>
        <a:r>
          <a:rPr lang="en-US"/>
          <a:t>Can you take the bullets down in size and move the left alignment to be in line with the first arrow? It makes the flow of the information easier to follow.</a:t>
        </a:r>
      </a:p>
    </p188:txBody>
  </p188:cm>
</p188:cmLst>
</file>

<file path=ppt/comments/modernComment_314_B2CE8DE6.xml><?xml version="1.0" encoding="utf-8"?>
<p188:cmLst xmlns:a="http://schemas.openxmlformats.org/drawingml/2006/main" xmlns:r="http://schemas.openxmlformats.org/officeDocument/2006/relationships" xmlns:p188="http://schemas.microsoft.com/office/powerpoint/2018/8/main">
  <p188:cm id="{212C0D38-D43C-4AB2-992C-49AFB2BE853F}" authorId="{B3D1B85B-17E4-EE27-E05D-40C5009AA99C}" created="2023-07-25T15:26:44.966">
    <pc:sldMkLst xmlns:pc="http://schemas.microsoft.com/office/powerpoint/2013/main/command">
      <pc:docMk/>
      <pc:sldMk cId="2999881190" sldId="788"/>
    </pc:sldMkLst>
    <p188:txBody>
      <a:bodyPr/>
      <a:lstStyle/>
      <a:p>
        <a:r>
          <a:rPr lang="en-US"/>
          <a:t>Move the * up so that it still has a margin on the bottom.</a:t>
        </a:r>
      </a:p>
    </p188:txBody>
  </p188:cm>
</p188:cmLst>
</file>

<file path=ppt/comments/modernComment_316_27AED165.xml><?xml version="1.0" encoding="utf-8"?>
<p188:cmLst xmlns:a="http://schemas.openxmlformats.org/drawingml/2006/main" xmlns:r="http://schemas.openxmlformats.org/officeDocument/2006/relationships" xmlns:p188="http://schemas.microsoft.com/office/powerpoint/2018/8/main">
  <p188:cm id="{4881F169-CBD9-46CB-80C1-EC1055548CC1}" authorId="{CC7FC594-84DC-F570-4BCB-2191BF6A448C}" created="2023-07-25T16:33:23.706">
    <ac:txMkLst xmlns:ac="http://schemas.microsoft.com/office/drawing/2013/main/command">
      <pc:docMk xmlns:pc="http://schemas.microsoft.com/office/powerpoint/2013/main/command"/>
      <pc:sldMk xmlns:pc="http://schemas.microsoft.com/office/powerpoint/2013/main/command" cId="665768293" sldId="790"/>
      <ac:spMk id="2" creationId="{7A1C276B-2A33-C049-AEF8-5AF88AD11664}"/>
      <ac:txMk cp="28" len="1">
        <ac:context len="43" hash="1446249003"/>
      </ac:txMk>
    </ac:txMkLst>
    <p188:pos x="4443211" y="815661"/>
    <p188:txBody>
      <a:bodyPr/>
      <a:lstStyle/>
      <a:p>
        <a:r>
          <a:rPr lang="en-US"/>
          <a:t>"faire grandir sa foi" would work better than "construisez la foi"</a:t>
        </a:r>
      </a:p>
    </p188:txBody>
  </p188:cm>
</p188:cmLst>
</file>

<file path=ppt/comments/modernComment_319_3CCA6652.xml><?xml version="1.0" encoding="utf-8"?>
<p188:cmLst xmlns:a="http://schemas.openxmlformats.org/drawingml/2006/main" xmlns:r="http://schemas.openxmlformats.org/officeDocument/2006/relationships" xmlns:p188="http://schemas.microsoft.com/office/powerpoint/2018/8/main">
  <p188:cm id="{1A98402A-BB04-4826-B6C0-740ACB05AA19}" authorId="{CC7FC594-84DC-F570-4BCB-2191BF6A448C}" created="2023-07-25T16:45:04.327">
    <ac:txMkLst xmlns:ac="http://schemas.microsoft.com/office/drawing/2013/main/command">
      <pc:docMk xmlns:pc="http://schemas.microsoft.com/office/powerpoint/2013/main/command"/>
      <pc:sldMk xmlns:pc="http://schemas.microsoft.com/office/powerpoint/2013/main/command" cId="1019897426" sldId="793"/>
      <ac:spMk id="3" creationId="{2198D0CB-A244-3645-93EF-5E47B40A5F95}"/>
      <ac:txMk cp="50" len="51">
        <ac:context len="102" hash="3833207766"/>
      </ac:txMk>
    </ac:txMkLst>
    <p188:pos x="1566929" y="944450"/>
    <p188:txBody>
      <a:bodyPr/>
      <a:lstStyle/>
      <a:p>
        <a:r>
          <a:rPr lang="en-US"/>
          <a:t>"décernent les diplômes" would be better than "délivrent les diplômes" </a:t>
        </a:r>
      </a:p>
    </p188:txBody>
  </p188:cm>
  <p188:cm id="{7ED5D90B-DFE4-4A46-A0B2-9F3B952C237F}" authorId="{CC7FC594-84DC-F570-4BCB-2191BF6A448C}" created="2023-07-25T16:54:03.645">
    <ac:txMkLst xmlns:ac="http://schemas.microsoft.com/office/drawing/2013/main/command">
      <pc:docMk xmlns:pc="http://schemas.microsoft.com/office/powerpoint/2013/main/command"/>
      <pc:sldMk xmlns:pc="http://schemas.microsoft.com/office/powerpoint/2013/main/command" cId="1019897426" sldId="793"/>
      <ac:spMk id="5" creationId="{0335E6F8-EF19-6242-8508-519A043B3930}"/>
      <ac:txMk cp="54" len="49">
        <ac:context len="104" hash="3047818403"/>
      </ac:txMk>
    </ac:txMkLst>
    <p188:pos x="2747492" y="1749380"/>
    <p188:txBody>
      <a:bodyPr/>
      <a:lstStyle/>
      <a:p>
        <a:r>
          <a:rPr lang="en-US"/>
          <a:t>This should be "Décerner les certificats et les diplômes accrédités" instead of "Certificats de subvention ​
et diplômes accrédités"</a:t>
        </a:r>
      </a:p>
    </p188:txBody>
  </p188:cm>
</p188:cmLst>
</file>

<file path=ppt/comments/modernComment_31D_FE8CE52B.xml><?xml version="1.0" encoding="utf-8"?>
<p188:cmLst xmlns:a="http://schemas.openxmlformats.org/drawingml/2006/main" xmlns:r="http://schemas.openxmlformats.org/officeDocument/2006/relationships" xmlns:p188="http://schemas.microsoft.com/office/powerpoint/2018/8/main">
  <p188:cm id="{E6EC95FA-63B9-41B7-84BF-E9B0C057C1ED}" authorId="{B3D1B85B-17E4-EE27-E05D-40C5009AA99C}" created="2023-07-25T14:59:16.156">
    <pc:sldMkLst xmlns:pc="http://schemas.microsoft.com/office/powerpoint/2013/main/command">
      <pc:docMk/>
      <pc:sldMk cId="4270646571" sldId="797"/>
    </pc:sldMkLst>
    <p188:txBody>
      <a:bodyPr/>
      <a:lstStyle/>
      <a:p>
        <a:r>
          <a:rPr lang="en-US"/>
          <a:t>The type could be sized down to give just a little more breathing room on that bottom margin. Just so that the type is just above that 4.</a:t>
        </a:r>
      </a:p>
    </p188:txBody>
  </p188:cm>
  <p188:cm id="{ED4D19AF-282D-42BA-BF7D-38765AA3C730}" authorId="{CC7FC594-84DC-F570-4BCB-2191BF6A448C}" created="2023-07-25T16:56:41.089">
    <ac:txMkLst xmlns:ac="http://schemas.microsoft.com/office/drawing/2013/main/command">
      <pc:docMk xmlns:pc="http://schemas.microsoft.com/office/powerpoint/2013/main/command"/>
      <pc:sldMk xmlns:pc="http://schemas.microsoft.com/office/powerpoint/2013/main/command" cId="4270646571" sldId="797"/>
      <ac:spMk id="5" creationId="{7615F437-AACA-9175-406B-64C66D810847}"/>
      <ac:txMk cp="0" len="19">
        <ac:context len="528" hash="3605380293"/>
      </ac:txMk>
    </ac:txMkLst>
    <p188:pos x="2522112" y="354169"/>
    <p188:txBody>
      <a:bodyPr/>
      <a:lstStyle/>
      <a:p>
        <a:r>
          <a:rPr lang="en-US"/>
          <a:t>"Coût reduit" instead of "Réduction des coûts"</a:t>
        </a:r>
      </a:p>
    </p188:txBody>
  </p188:cm>
  <p188:cm id="{21D0A6DB-9DF0-464F-AE3C-150D80B6BEF6}" authorId="{CC7FC594-84DC-F570-4BCB-2191BF6A448C}" created="2023-07-25T17:09:14.790">
    <pc:sldMkLst xmlns:pc="http://schemas.microsoft.com/office/powerpoint/2013/main/command">
      <pc:docMk/>
      <pc:sldMk cId="4270646571" sldId="797"/>
    </pc:sldMkLst>
    <p188:txBody>
      <a:bodyPr/>
      <a:lstStyle/>
      <a:p>
        <a:r>
          <a:rPr lang="en-US"/>
          <a:t>"trimestre de bloc" implies periods of three months. It would be better to say something like "les trois premières périodes scolaires"</a:t>
        </a:r>
      </a:p>
    </p188:txBody>
  </p188:cm>
  <p188:cm id="{35A683BF-6617-49B9-8303-12A795E0741B}" authorId="{CC7FC594-84DC-F570-4BCB-2191BF6A448C}" created="2023-07-25T17:18:05.236">
    <ac:txMkLst xmlns:ac="http://schemas.microsoft.com/office/drawing/2013/main/command">
      <pc:docMk xmlns:pc="http://schemas.microsoft.com/office/powerpoint/2013/main/command"/>
      <pc:sldMk xmlns:pc="http://schemas.microsoft.com/office/powerpoint/2013/main/command" cId="4270646571" sldId="797"/>
      <ac:spMk id="5" creationId="{7615F437-AACA-9175-406B-64C66D810847}"/>
      <ac:txMk cp="227" len="7">
        <ac:context len="528" hash="3605380293"/>
      </ac:txMk>
    </ac:txMkLst>
    <p188:pos x="2035479" y="2536520"/>
    <p188:txBody>
      <a:bodyPr/>
      <a:lstStyle/>
      <a:p>
        <a:r>
          <a:rPr lang="en-US"/>
          <a:t>I believe "achèvement" would be better than "diplôme</a:t>
        </a:r>
      </a:p>
    </p188:txBody>
  </p188:cm>
  <p188:cm id="{64551C8F-1B6A-424B-9458-2EB1C2D7688A}" authorId="{CC7FC594-84DC-F570-4BCB-2191BF6A448C}" created="2023-07-25T17:24:46.654">
    <ac:txMkLst xmlns:ac="http://schemas.microsoft.com/office/drawing/2013/main/command">
      <pc:docMk xmlns:pc="http://schemas.microsoft.com/office/powerpoint/2013/main/command"/>
      <pc:sldMk xmlns:pc="http://schemas.microsoft.com/office/powerpoint/2013/main/command" cId="4270646571" sldId="797"/>
      <ac:spMk id="5" creationId="{7615F437-AACA-9175-406B-64C66D810847}"/>
      <ac:txMk cp="319" len="3">
        <ac:context len="528" hash="3605380293"/>
      </ac:txMk>
    </ac:txMkLst>
    <p188:pos x="4551123" y="3256767"/>
    <p188:txBody>
      <a:bodyPr/>
      <a:lstStyle/>
      <a:p>
        <a:r>
          <a:rPr lang="en-US"/>
          <a:t>"car" is rather formal, so I think "puisque" might be better for an international audience.</a:t>
        </a:r>
      </a:p>
    </p188:txBody>
  </p188:cm>
</p188:cmLst>
</file>

<file path=ppt/comments/modernComment_322_75F3E2F4.xml><?xml version="1.0" encoding="utf-8"?>
<p188:cmLst xmlns:a="http://schemas.openxmlformats.org/drawingml/2006/main" xmlns:r="http://schemas.openxmlformats.org/officeDocument/2006/relationships" xmlns:p188="http://schemas.microsoft.com/office/powerpoint/2018/8/main">
  <p188:cm id="{265A4138-DE9D-4DDC-A5C4-AC9D71F934F4}" authorId="{72C0B539-49F2-F39A-CA35-868BD0F2DB07}" status="resolved" created="2023-06-22T19:53:04.326" complete="100000">
    <ac:txMkLst xmlns:ac="http://schemas.microsoft.com/office/drawing/2013/main/command">
      <pc:docMk xmlns:pc="http://schemas.microsoft.com/office/powerpoint/2013/main/command"/>
      <pc:sldMk xmlns:pc="http://schemas.microsoft.com/office/powerpoint/2013/main/command" cId="1978917620" sldId="802"/>
      <ac:spMk id="2" creationId="{98E4E0C1-C04E-5949-978F-7C827D444D55}"/>
      <ac:txMk cp="25" len="100">
        <ac:context len="126" hash="2053605567"/>
      </ac:txMk>
    </ac:txMkLst>
    <p188:pos x="3047999" y="573548"/>
    <p188:replyLst>
      <p188:reply id="{DC446945-8361-466D-A0B2-0431C6A4AB86}" authorId="{72C0B539-49F2-F39A-CA35-868BD0F2DB07}" created="2023-06-22T19:53:33.452">
        <p188:txBody>
          <a:bodyPr/>
          <a:lstStyle/>
          <a:p>
            <a:r>
              <a:rPr lang="en-US"/>
              <a:t>Italicized:
"Inauguration Remarks,” (BYU-Pathway Worldwide Inauguration, Mar. 10, 2022), byupathway.org/speeches</a:t>
            </a:r>
          </a:p>
        </p188:txBody>
      </p188:reply>
      <p188:reply id="{4563A8D2-E496-4CAE-8E4C-01C68E2D88E3}" authorId="{FED73FBC-A036-D1F6-3299-491A76AB1ED9}" created="2023-06-28T22:17:16.557">
        <p188:txBody>
          <a:bodyPr/>
          <a:lstStyle/>
          <a:p>
            <a:r>
              <a:rPr lang="en-US"/>
              <a:t>BYU-Pathway Worldwide is split between two lines, I can't get it to be on the same line without making the text box super narrow. Thoughts?</a:t>
            </a:r>
          </a:p>
        </p188:txBody>
      </p188:reply>
      <p188:reply id="{5AC7D59B-ADBC-4AA7-81F1-25CED399A676}" authorId="{72C0B539-49F2-F39A-CA35-868BD0F2DB07}" created="2023-06-29T23:34:10.307">
        <p188:txBody>
          <a:bodyPr/>
          <a:lstStyle/>
          <a:p>
            <a:r>
              <a:rPr lang="en-US"/>
              <a:t>Can you keep "BYU-Pathway" together with "Worldwide" on the next line?</a:t>
            </a:r>
          </a:p>
        </p188:txBody>
      </p188:reply>
    </p188:replyLst>
    <p188:txBody>
      <a:bodyPr/>
      <a:lstStyle/>
      <a:p>
        <a:r>
          <a:rPr lang="en-US"/>
          <a:t>No citation?</a:t>
        </a:r>
      </a:p>
    </p188:txBody>
  </p188:cm>
  <p188:cm id="{B39610FA-0F40-46C2-8BA0-DAF154D92AF9}" authorId="{CC7FC594-84DC-F570-4BCB-2191BF6A448C}" created="2023-07-26T17:34:13.770">
    <ac:txMkLst xmlns:ac="http://schemas.microsoft.com/office/drawing/2013/main/command">
      <pc:docMk xmlns:pc="http://schemas.microsoft.com/office/powerpoint/2013/main/command"/>
      <pc:sldMk xmlns:pc="http://schemas.microsoft.com/office/powerpoint/2013/main/command" cId="1978917620" sldId="802"/>
      <ac:spMk id="8" creationId="{04B0412D-7645-E7F5-6B50-3BE275894CA4}"/>
      <ac:txMk cp="118" len="30">
        <ac:context len="251" hash="2918308337"/>
      </ac:txMk>
    </ac:txMkLst>
    <p188:pos x="1743559" y="2001864"/>
    <p188:txBody>
      <a:bodyPr/>
      <a:lstStyle/>
      <a:p>
        <a:r>
          <a:rPr lang="en-US"/>
          <a:t>Based on churchofjesuschrist.org, "Church Educational System" is usually translated as "le Département d’Éducation de l’Église"</a:t>
        </a:r>
      </a:p>
    </p188:txBody>
  </p188:cm>
</p188:cmLst>
</file>

<file path=ppt/comments/modernComment_325_B75540C5.xml><?xml version="1.0" encoding="utf-8"?>
<p188:cmLst xmlns:a="http://schemas.openxmlformats.org/drawingml/2006/main" xmlns:r="http://schemas.openxmlformats.org/officeDocument/2006/relationships" xmlns:p188="http://schemas.microsoft.com/office/powerpoint/2018/8/main">
  <p188:cm id="{296EDE5F-16CE-407E-BE41-32E965599C7F}" authorId="{B3D1B85B-17E4-EE27-E05D-40C5009AA99C}" created="2023-07-25T14:46:37.112">
    <pc:sldMkLst xmlns:pc="http://schemas.microsoft.com/office/powerpoint/2013/main/command">
      <pc:docMk/>
      <pc:sldMk cId="3075817669" sldId="805"/>
    </pc:sldMkLst>
    <p188:txBody>
      <a:bodyPr/>
      <a:lstStyle/>
      <a:p>
        <a:r>
          <a:rPr lang="en-US"/>
          <a:t>It looks like l'informatique is almost too close to the edge of the gray box in the third row. </a:t>
        </a:r>
      </a:p>
    </p188:txBody>
  </p188:cm>
  <p188:cm id="{ED2DCE64-0DFE-4B14-9842-0ED12852BE13}" authorId="{B3D1B85B-17E4-EE27-E05D-40C5009AA99C}" created="2023-07-25T14:49:25.537">
    <pc:sldMkLst xmlns:pc="http://schemas.microsoft.com/office/powerpoint/2013/main/command">
      <pc:docMk/>
      <pc:sldMk cId="3075817669" sldId="805"/>
    </pc:sldMkLst>
    <p188:txBody>
      <a:bodyPr/>
      <a:lstStyle/>
      <a:p>
        <a:r>
          <a:rPr lang="en-US"/>
          <a:t>Also, the environnementale in the first row is breaking up the spacing bertween the rows. I know this is because of the French, but can we size the text down about 1 size and see if we can fix both of those.</a:t>
        </a:r>
      </a:p>
    </p188:txBody>
  </p188:cm>
  <p188:cm id="{EA03A776-8C5E-4F8F-8BB5-D5C21233E6F2}" authorId="{B3D1B85B-17E4-EE27-E05D-40C5009AA99C}" created="2023-07-25T14:59:56.641">
    <pc:sldMkLst xmlns:pc="http://schemas.microsoft.com/office/powerpoint/2013/main/command">
      <pc:docMk/>
      <pc:sldMk cId="3075817669" sldId="805"/>
    </pc:sldMkLst>
    <p188:txBody>
      <a:bodyPr/>
      <a:lstStyle/>
      <a:p>
        <a:r>
          <a:rPr lang="en-US"/>
          <a:t>Just move the bar code and liste de diplomes up so that it lines up with the gray box.</a:t>
        </a:r>
      </a:p>
    </p188:txBody>
  </p188:cm>
  <p188:cm id="{3C4780FD-517E-4551-8C21-D94170B967BC}" authorId="{B3D1B85B-17E4-EE27-E05D-40C5009AA99C}" created="2023-07-25T15:00:26.329">
    <pc:sldMkLst xmlns:pc="http://schemas.microsoft.com/office/powerpoint/2013/main/command">
      <pc:docMk/>
      <pc:sldMk cId="3075817669" sldId="805"/>
    </pc:sldMkLst>
    <p188:txBody>
      <a:bodyPr/>
      <a:lstStyle/>
      <a:p>
        <a:r>
          <a:rPr lang="en-US"/>
          <a:t>Also, reduce text just slightly for the * piece of information so that it doesn't compete with the certificats.</a:t>
        </a:r>
      </a:p>
    </p188:txBody>
  </p188:cm>
  <p188:cm id="{1AA9CC5A-3759-418B-82B8-D230709326BA}" authorId="{CC7FC594-84DC-F570-4BCB-2191BF6A448C}" created="2023-07-25T22:17:01.513">
    <ac:txMkLst xmlns:ac="http://schemas.microsoft.com/office/drawing/2013/main/command">
      <pc:docMk xmlns:pc="http://schemas.microsoft.com/office/powerpoint/2013/main/command"/>
      <pc:sldMk xmlns:pc="http://schemas.microsoft.com/office/powerpoint/2013/main/command" cId="3075817669" sldId="805"/>
      <ac:spMk id="20" creationId="{5A77A19F-CD5E-F7C5-B11F-5ED8EEE3C2D3}"/>
      <ac:txMk cp="0" len="1">
        <ac:context len="13" hash="1186357633"/>
      </ac:txMk>
    </ac:txMkLst>
    <p188:pos x="1179534" y="647178"/>
    <p188:txBody>
      <a:bodyPr/>
      <a:lstStyle/>
      <a:p>
        <a:r>
          <a:rPr lang="en-US"/>
          <a:t>Information Technology is best translated as "Informatique"</a:t>
        </a:r>
      </a:p>
    </p188:txBody>
  </p188:cm>
  <p188:cm id="{92BBC972-896D-4C30-A15A-FEA84EADEE6C}" authorId="{CC7FC594-84DC-F570-4BCB-2191BF6A448C}" created="2023-07-25T22:23:52.054">
    <ac:txMkLst xmlns:ac="http://schemas.microsoft.com/office/drawing/2013/main/command">
      <pc:docMk xmlns:pc="http://schemas.microsoft.com/office/powerpoint/2013/main/command"/>
      <pc:sldMk xmlns:pc="http://schemas.microsoft.com/office/powerpoint/2013/main/command" cId="3075817669" sldId="805"/>
      <ac:spMk id="34" creationId="{416DF48E-CA52-29A7-3796-A2B845252115}"/>
      <ac:txMk cp="1" len="115">
        <ac:context len="117" hash="1343091768"/>
      </ac:txMk>
    </ac:txMkLst>
    <p188:pos x="1064712" y="949890"/>
    <p188:txBody>
      <a:bodyPr/>
      <a:lstStyle/>
      <a:p>
        <a:r>
          <a:rPr lang="en-US"/>
          <a:t>For the sake of clarity, I would change this sentence to, "Les études familiales comprennent la recherche sur la famille et les services sociaux ainsi que la recherche sur l’histoire familiale."</a:t>
        </a:r>
      </a:p>
    </p188:txBody>
  </p188:cm>
  <p188:cm id="{B692DD4F-9231-43E9-BEB0-97D6AD1B8E5F}" authorId="{CC7FC594-84DC-F570-4BCB-2191BF6A448C}" created="2023-07-25T22:25:16.087">
    <ac:txMkLst xmlns:ac="http://schemas.microsoft.com/office/drawing/2013/main/command">
      <pc:docMk xmlns:pc="http://schemas.microsoft.com/office/powerpoint/2013/main/command"/>
      <pc:sldMk xmlns:pc="http://schemas.microsoft.com/office/powerpoint/2013/main/command" cId="3075817669" sldId="805"/>
      <ac:spMk id="5" creationId="{85A8D91E-9E2B-3E60-BC05-352ECCCECD29}"/>
      <ac:txMk cp="24">
        <ac:context len="790" hash="2234295711"/>
      </ac:txMk>
    </ac:txMkLst>
    <p188:pos x="4070958" y="574109"/>
    <p188:txBody>
      <a:bodyPr/>
      <a:lstStyle/>
      <a:p>
        <a:r>
          <a:rPr lang="en-US"/>
          <a:t>For consistency, I would translate this as "Recherche avancée sur l'histoire familiale" </a:t>
        </a:r>
      </a:p>
    </p188:txBody>
  </p188:cm>
  <p188:cm id="{59C72F14-588C-499E-9780-44801F786EEB}" authorId="{CC7FC594-84DC-F570-4BCB-2191BF6A448C}" created="2023-07-25T22:33:09.208">
    <ac:txMkLst xmlns:ac="http://schemas.microsoft.com/office/drawing/2013/main/command">
      <pc:docMk xmlns:pc="http://schemas.microsoft.com/office/powerpoint/2013/main/command"/>
      <pc:sldMk xmlns:pc="http://schemas.microsoft.com/office/powerpoint/2013/main/command" cId="3075817669" sldId="805"/>
      <ac:spMk id="5" creationId="{85A8D91E-9E2B-3E60-BC05-352ECCCECD29}"/>
      <ac:txMk cp="144" len="21">
        <ac:context len="790" hash="2234295711"/>
      </ac:txMk>
    </ac:txMkLst>
    <p188:pos x="2098109" y="1993726"/>
    <p188:txBody>
      <a:bodyPr/>
      <a:lstStyle/>
      <a:p>
        <a:r>
          <a:rPr lang="en-US"/>
          <a:t>It appears that "Communication Core" is more often translated as "Noyau de communication"</a:t>
        </a:r>
      </a:p>
    </p188:txBody>
  </p188:cm>
  <p188:cm id="{C112C86A-6C6F-4AEE-8615-08FF6DD73CA5}" authorId="{CC7FC594-84DC-F570-4BCB-2191BF6A448C}" created="2023-07-25T22:37:04.917">
    <ac:txMkLst xmlns:ac="http://schemas.microsoft.com/office/drawing/2013/main/command">
      <pc:docMk xmlns:pc="http://schemas.microsoft.com/office/powerpoint/2013/main/command"/>
      <pc:sldMk xmlns:pc="http://schemas.microsoft.com/office/powerpoint/2013/main/command" cId="3075817669" sldId="805"/>
      <ac:spMk id="5" creationId="{85A8D91E-9E2B-3E60-BC05-352ECCCECD29}"/>
      <ac:txMk cp="265" len="22">
        <ac:context len="790" hash="2234295711"/>
      </ac:txMk>
    </ac:txMkLst>
    <p188:pos x="2129424" y="3131506"/>
    <p188:txBody>
      <a:bodyPr/>
      <a:lstStyle/>
      <a:p>
        <a:r>
          <a:rPr lang="en-US"/>
          <a:t>The church usually translates "Family History" as "l'histoire familale." So I would translate this as "Recherche sur l'histoire familiale."</a:t>
        </a:r>
      </a:p>
    </p188:txBody>
  </p188:cm>
  <p188:cm id="{6CC11755-1675-425C-8F76-C8EE418CC94A}" authorId="{CC7FC594-84DC-F570-4BCB-2191BF6A448C}" created="2023-07-25T22:48:54.153">
    <ac:txMkLst xmlns:ac="http://schemas.microsoft.com/office/drawing/2013/main/command">
      <pc:docMk xmlns:pc="http://schemas.microsoft.com/office/powerpoint/2013/main/command"/>
      <pc:sldMk xmlns:pc="http://schemas.microsoft.com/office/powerpoint/2013/main/command" cId="3075817669" sldId="805"/>
      <ac:spMk id="5" creationId="{85A8D91E-9E2B-3E60-BC05-352ECCCECD29}"/>
      <ac:txMk cp="567" len="34">
        <ac:context len="790" hash="2234295711"/>
      </ac:txMk>
    </ac:txMkLst>
    <p188:pos x="2985369" y="5699342"/>
    <p188:txBody>
      <a:bodyPr/>
      <a:lstStyle/>
      <a:p>
        <a:r>
          <a:rPr lang="en-US"/>
          <a:t>I believe this should be something like "Principes fondamentaux de la fracturation et du codage medicaux"</a:t>
        </a:r>
      </a:p>
    </p188:txBody>
  </p188:cm>
  <p188:cm id="{AE17AEE6-5854-461C-A376-51F62C24F42D}" authorId="{CC7FC594-84DC-F570-4BCB-2191BF6A448C}" created="2023-07-25T22:55:10.959">
    <ac:txMkLst xmlns:ac="http://schemas.microsoft.com/office/drawing/2013/main/command">
      <pc:docMk xmlns:pc="http://schemas.microsoft.com/office/powerpoint/2013/main/command"/>
      <pc:sldMk xmlns:pc="http://schemas.microsoft.com/office/powerpoint/2013/main/command" cId="3075817669" sldId="805"/>
      <ac:spMk id="5" creationId="{85A8D91E-9E2B-3E60-BC05-352ECCCECD29}"/>
      <ac:txMk cp="733" len="4">
        <ac:context len="790" hash="2234295711"/>
      </ac:txMk>
    </ac:txMkLst>
    <p188:pos x="584547" y="7411232"/>
    <p188:txBody>
      <a:bodyPr/>
      <a:lstStyle/>
      <a:p>
        <a:r>
          <a:rPr lang="en-US"/>
          <a:t>Because this is an English acronym, it might help to include an explanatory parenthetical: "(enseignement de l'anglais langue étrangère)"</a:t>
        </a:r>
      </a:p>
    </p188:txBody>
  </p188:cm>
</p188:cmLst>
</file>

<file path=ppt/comments/modernComment_329_170BC622.xml><?xml version="1.0" encoding="utf-8"?>
<p188:cmLst xmlns:a="http://schemas.openxmlformats.org/drawingml/2006/main" xmlns:r="http://schemas.openxmlformats.org/officeDocument/2006/relationships" xmlns:p188="http://schemas.microsoft.com/office/powerpoint/2018/8/main">
  <p188:cm id="{DF28976B-2D2F-4884-8C65-3C01F72DDB8A}" authorId="{CC7FC594-84DC-F570-4BCB-2191BF6A448C}" created="2023-07-26T14:59:48.595">
    <ac:txMkLst xmlns:ac="http://schemas.microsoft.com/office/drawing/2013/main/command">
      <pc:docMk xmlns:pc="http://schemas.microsoft.com/office/powerpoint/2013/main/command"/>
      <pc:sldMk xmlns:pc="http://schemas.microsoft.com/office/powerpoint/2013/main/command" cId="386647586" sldId="809"/>
      <ac:spMk id="3" creationId="{6A57A1E5-BB56-3949-BF3A-C64C36CAB647}"/>
      <ac:txMk cp="162" len="35">
        <ac:context len="277" hash="2412400280"/>
      </ac:txMk>
    </ac:txMkLst>
    <p188:pos x="991643" y="2171178"/>
    <p188:txBody>
      <a:bodyPr/>
      <a:lstStyle/>
      <a:p>
        <a:r>
          <a:rPr lang="en-US"/>
          <a:t>This phrase is more commonly translated as "je suis a quelques mois de terminer"</a:t>
        </a:r>
      </a:p>
    </p188:txBody>
  </p188:cm>
</p188:cmLst>
</file>

<file path=ppt/comments/modernComment_32A_59E0258F.xml><?xml version="1.0" encoding="utf-8"?>
<p188:cmLst xmlns:a="http://schemas.openxmlformats.org/drawingml/2006/main" xmlns:r="http://schemas.openxmlformats.org/officeDocument/2006/relationships" xmlns:p188="http://schemas.microsoft.com/office/powerpoint/2018/8/main">
  <p188:cm id="{C5985880-FF18-42D3-B8DD-B68C596BDBF9}" authorId="{CC7FC594-84DC-F570-4BCB-2191BF6A448C}" created="2023-07-25T17:37:09.541">
    <ac:deMkLst xmlns:ac="http://schemas.microsoft.com/office/drawing/2013/main/command">
      <pc:docMk xmlns:pc="http://schemas.microsoft.com/office/powerpoint/2013/main/command"/>
      <pc:sldMk xmlns:pc="http://schemas.microsoft.com/office/powerpoint/2013/main/command" cId="1507861903" sldId="810"/>
      <ac:picMk id="3" creationId="{DD47FAD8-AD10-E57E-FBD1-C7CEB01A552A}"/>
    </ac:deMkLst>
    <p188:replyLst>
      <p188:reply id="{0A5A981A-BBB3-4BA6-B9D5-29B85FBB50AA}" authorId="{FED73FBC-A036-D1F6-3299-491A76AB1ED9}" created="2023-07-25T18:49:58.588">
        <p188:txBody>
          <a:bodyPr/>
          <a:lstStyle/>
          <a:p>
            <a:r>
              <a:rPr lang="en-US"/>
              <a:t>Thanks Holden! I didn't receive translation for these graphics so it was done with Google translate. :)</a:t>
            </a:r>
          </a:p>
        </p188:txBody>
      </p188:reply>
      <p188:reply id="{45B4F3C2-11B3-4DE8-B9DB-22AF17FDC816}" authorId="{CC7FC594-84DC-F570-4BCB-2191BF6A448C}" created="2023-07-25T22:07:06.952">
        <p188:txBody>
          <a:bodyPr/>
          <a:lstStyle/>
          <a:p>
            <a:r>
              <a:rPr lang="en-US"/>
              <a:t>Thanks for changing that, Kamile! I just noticed something on the bottom. Could you change it to say "MEILLEURES POSSIBILITÉS D'EMPLOI"? Sorry to make you do it again. Thank you for your help! </a:t>
            </a:r>
          </a:p>
        </p188:txBody>
      </p188:reply>
    </p188:replyLst>
    <p188:txBody>
      <a:bodyPr/>
      <a:lstStyle/>
      <a:p>
        <a:r>
          <a:rPr lang="en-US"/>
          <a:t>"D'abord Certificat" needs to be changed to "Premier Certificat"</a:t>
        </a:r>
      </a:p>
    </p188:txBody>
  </p188:cm>
</p188:cmLst>
</file>

<file path=ppt/comments/modernComment_32F_55F2C902.xml><?xml version="1.0" encoding="utf-8"?>
<p188:cmLst xmlns:a="http://schemas.openxmlformats.org/drawingml/2006/main" xmlns:r="http://schemas.openxmlformats.org/officeDocument/2006/relationships" xmlns:p188="http://schemas.microsoft.com/office/powerpoint/2018/8/main">
  <p188:cm id="{A941C1CA-4CDB-4360-9B05-AEBE57FBD91C}" authorId="{B3D1B85B-17E4-EE27-E05D-40C5009AA99C}" created="2023-07-25T15:25:24.152">
    <pc:sldMkLst xmlns:pc="http://schemas.microsoft.com/office/powerpoint/2013/main/command">
      <pc:docMk/>
      <pc:sldMk cId="1441974530" sldId="815"/>
    </pc:sldMkLst>
    <p188:txBody>
      <a:bodyPr/>
      <a:lstStyle/>
      <a:p>
        <a:r>
          <a:rPr lang="en-US"/>
          <a:t>Pull the de to the last line so that the numbers aren't alone. It gives them too much focus and makes them stand out from being a part of the rest of the text.</a:t>
        </a:r>
      </a:p>
    </p188:txBody>
  </p188:cm>
</p188:cmLst>
</file>

<file path=ppt/comments/modernComment_331_B630ED2E.xml><?xml version="1.0" encoding="utf-8"?>
<p188:cmLst xmlns:a="http://schemas.openxmlformats.org/drawingml/2006/main" xmlns:r="http://schemas.openxmlformats.org/officeDocument/2006/relationships" xmlns:p188="http://schemas.microsoft.com/office/powerpoint/2018/8/main">
  <p188:cm id="{484C6D2A-E56F-4F37-A366-63888AB566AF}" authorId="{B3D1B85B-17E4-EE27-E05D-40C5009AA99C}" created="2023-07-25T15:25:59.387">
    <pc:sldMkLst xmlns:pc="http://schemas.microsoft.com/office/powerpoint/2013/main/command">
      <pc:docMk/>
      <pc:sldMk cId="3056659758" sldId="817"/>
    </pc:sldMkLst>
    <p188:txBody>
      <a:bodyPr/>
      <a:lstStyle/>
      <a:p>
        <a:r>
          <a:rPr lang="en-US"/>
          <a:t>Same comment about moving the de down to the line with the % numbers.</a:t>
        </a:r>
      </a:p>
    </p188:txBody>
  </p188:cm>
</p188:cmLst>
</file>

<file path=ppt/comments/modernComment_333_D4C697CF.xml><?xml version="1.0" encoding="utf-8"?>
<p188:cmLst xmlns:a="http://schemas.openxmlformats.org/drawingml/2006/main" xmlns:r="http://schemas.openxmlformats.org/officeDocument/2006/relationships" xmlns:p188="http://schemas.microsoft.com/office/powerpoint/2018/8/main">
  <p188:cm id="{91A770B9-5555-4396-BE28-ACD24AF8832C}" authorId="{B3D1B85B-17E4-EE27-E05D-40C5009AA99C}" created="2023-07-25T15:03:44.098">
    <pc:sldMkLst xmlns:pc="http://schemas.microsoft.com/office/powerpoint/2013/main/command">
      <pc:docMk/>
      <pc:sldMk cId="3569784783" sldId="819"/>
    </pc:sldMkLst>
    <p188:txBody>
      <a:bodyPr/>
      <a:lstStyle/>
      <a:p>
        <a:r>
          <a:rPr lang="en-US"/>
          <a:t>I would also size the font below those pictures down a small amount to give a little more margin on the left side of the screen. </a:t>
        </a:r>
      </a:p>
    </p188:txBody>
  </p188:cm>
  <p188:cm id="{55863042-5F70-4DDA-9F15-5C366CCBD40D}" authorId="{CC7FC594-84DC-F570-4BCB-2191BF6A448C}" created="2023-07-26T14:13:39.280">
    <ac:txMkLst xmlns:ac="http://schemas.microsoft.com/office/drawing/2013/main/command">
      <pc:docMk xmlns:pc="http://schemas.microsoft.com/office/powerpoint/2013/main/command"/>
      <pc:sldMk xmlns:pc="http://schemas.microsoft.com/office/powerpoint/2013/main/command" cId="3569784783" sldId="819"/>
      <ac:spMk id="28" creationId="{2DF252B8-74CF-F44D-9C66-D414C0B370E9}"/>
      <ac:txMk cp="0" len="34">
        <ac:context len="35" hash="2349757377"/>
      </ac:txMk>
    </ac:txMkLst>
    <p188:pos x="2087671" y="699369"/>
    <p188:txBody>
      <a:bodyPr/>
      <a:lstStyle/>
      <a:p>
        <a:r>
          <a:rPr lang="en-US"/>
          <a:t>This sentence says that students "save time and make money" with BYU-Pathway, which implies BYU-Pathway might pay them in some way. From what I've found, it's more common to say "Economisez du temps et de l'argent"</a:t>
        </a:r>
      </a:p>
    </p188:txBody>
  </p188:cm>
</p188:cmLst>
</file>

<file path=ppt/comments/modernComment_334_62818D6C.xml><?xml version="1.0" encoding="utf-8"?>
<p188:cmLst xmlns:a="http://schemas.openxmlformats.org/drawingml/2006/main" xmlns:r="http://schemas.openxmlformats.org/officeDocument/2006/relationships" xmlns:p188="http://schemas.microsoft.com/office/powerpoint/2018/8/main">
  <p188:cm id="{2EE799AF-AB3C-44B0-8059-C974F853396E}" authorId="{B3D1B85B-17E4-EE27-E05D-40C5009AA99C}" created="2023-07-25T14:58:17.718">
    <pc:sldMkLst xmlns:pc="http://schemas.microsoft.com/office/powerpoint/2013/main/command">
      <pc:docMk/>
      <pc:sldMk cId="1652657516" sldId="820"/>
    </pc:sldMkLst>
    <p188:replyLst>
      <p188:reply id="{A5C9F289-748D-4692-BE0E-39FA457309BE}" authorId="{FED73FBC-A036-D1F6-3299-491A76AB1ED9}" created="2023-07-25T18:36:19.317">
        <p188:txBody>
          <a:bodyPr/>
          <a:lstStyle/>
          <a:p>
            <a:r>
              <a:rPr lang="en-US"/>
              <a:t>I can't move the yellow line because it is part of the template. I will play with the text though and see what I can do while still being consistent with the style guidelines.</a:t>
            </a:r>
          </a:p>
        </p188:txBody>
      </p188:reply>
    </p188:replyLst>
    <p188:txBody>
      <a:bodyPr/>
      <a:lstStyle/>
      <a:p>
        <a:r>
          <a:rPr lang="en-US"/>
          <a:t>The heading seems close to the top of the slide. Can you remove the yellow line and just move it down a small amount. </a:t>
        </a:r>
      </a:p>
    </p188:txBody>
  </p188:cm>
  <p188:cm id="{33F0B04F-654E-434C-9FFA-64128FAADCD4}" authorId="{CC7FC594-84DC-F570-4BCB-2191BF6A448C}" created="2023-07-26T14:20:03.637">
    <ac:txMkLst xmlns:ac="http://schemas.microsoft.com/office/drawing/2013/main/command">
      <pc:docMk xmlns:pc="http://schemas.microsoft.com/office/powerpoint/2013/main/command"/>
      <pc:sldMk xmlns:pc="http://schemas.microsoft.com/office/powerpoint/2013/main/command" cId="1652657516" sldId="820"/>
      <ac:spMk id="16" creationId="{EFA081FD-9098-3A38-3995-211EBEBA672C}"/>
      <ac:txMk cp="15">
        <ac:context len="16" hash="4275377738"/>
      </ac:txMk>
    </ac:txMkLst>
    <p188:pos x="3601232" y="260958"/>
    <p188:txBody>
      <a:bodyPr/>
      <a:lstStyle/>
      <a:p>
        <a:r>
          <a:rPr lang="en-US"/>
          <a:t>Earlier in the slide show (slide 7), "entrepreneurship" is translated as "entrepreneuriat," so, for consistency, either this needs to change to "entrepreneuriat" or slide 7 should be changed to "esprit d'entreprise."</a:t>
        </a:r>
      </a:p>
    </p188:txBody>
  </p188:cm>
</p188:cmLst>
</file>

<file path=ppt/comments/modernComment_335_68885970.xml><?xml version="1.0" encoding="utf-8"?>
<p188:cmLst xmlns:a="http://schemas.openxmlformats.org/drawingml/2006/main" xmlns:r="http://schemas.openxmlformats.org/officeDocument/2006/relationships" xmlns:p188="http://schemas.microsoft.com/office/powerpoint/2018/8/main">
  <p188:cm id="{91EA4F99-D621-4392-BE7F-21CE978D8B9F}" authorId="{B3D1B85B-17E4-EE27-E05D-40C5009AA99C}" created="2023-07-25T15:13:34.031">
    <pc:sldMkLst xmlns:pc="http://schemas.microsoft.com/office/powerpoint/2013/main/command">
      <pc:docMk/>
      <pc:sldMk cId="1753766256" sldId="821"/>
    </pc:sldMkLst>
    <p188:txBody>
      <a:bodyPr/>
      <a:lstStyle/>
      <a:p>
        <a:r>
          <a:rPr lang="en-US"/>
          <a:t>Can you downsize that bottom type so that it ends above the page number. </a:t>
        </a:r>
      </a:p>
    </p188:txBody>
  </p188:cm>
  <p188:cm id="{EA0BEAAA-10EC-4515-8913-0A506815C227}" authorId="{B3D1B85B-17E4-EE27-E05D-40C5009AA99C}" created="2023-07-25T15:17:26.738">
    <pc:sldMkLst xmlns:pc="http://schemas.microsoft.com/office/powerpoint/2013/main/command">
      <pc:docMk/>
      <pc:sldMk cId="1753766256" sldId="821"/>
    </pc:sldMkLst>
    <p188:txBody>
      <a:bodyPr/>
      <a:lstStyle/>
      <a:p>
        <a:r>
          <a:rPr lang="en-US"/>
          <a:t>The box with Augmentation moyenne du revenu de bleeds outside of the box and it looks like the two icons are off a little. The words may need to be placed both beneath those icons and numbers.</a:t>
        </a:r>
      </a:p>
    </p188:txBody>
  </p188:cm>
</p188:cmLst>
</file>

<file path=ppt/comments/modernComment_33A_C9F6806F.xml><?xml version="1.0" encoding="utf-8"?>
<p188:cmLst xmlns:a="http://schemas.openxmlformats.org/drawingml/2006/main" xmlns:r="http://schemas.openxmlformats.org/officeDocument/2006/relationships" xmlns:p188="http://schemas.microsoft.com/office/powerpoint/2018/8/main">
  <p188:cm id="{8A8EAA6F-FF5B-4E2B-8753-08CA12D1EF8E}" authorId="{B3D1B85B-17E4-EE27-E05D-40C5009AA99C}" created="2023-07-25T15:18:28.332">
    <pc:sldMkLst xmlns:pc="http://schemas.microsoft.com/office/powerpoint/2013/main/command">
      <pc:docMk/>
      <pc:sldMk cId="3388375151" sldId="826"/>
    </pc:sldMkLst>
    <p188:replyLst>
      <p188:reply id="{06A435F6-7DDA-4203-BBFC-F9D69659BB44}" authorId="{FED73FBC-A036-D1F6-3299-491A76AB1ED9}" created="2023-07-25T18:43:38.578">
        <p188:txBody>
          <a:bodyPr/>
          <a:lstStyle/>
          <a:p>
            <a:r>
              <a:rPr lang="en-US"/>
              <a:t>In both the English and Spanish versions [@Krista Tripodi] approved it with the page numbers so I'll reach out to her so we can be consistent throughout all of these presentations.</a:t>
            </a:r>
          </a:p>
        </p188:txBody>
      </p188:reply>
      <p188:reply id="{E3CF58B6-ED1D-45A1-B2F4-2D82151C5AC4}" authorId="{7F53F03F-B685-1726-08D6-9131CED005D3}" created="2023-07-26T16:49:09.853">
        <p188:txBody>
          <a:bodyPr/>
          <a:lstStyle/>
          <a:p>
            <a:r>
              <a:rPr lang="en-US"/>
              <a:t>Thanks, Kami. I'm okay with removing them as long as we're consistent in all languages. </a:t>
            </a:r>
          </a:p>
        </p188:txBody>
      </p188:reply>
      <p188:reply id="{8DAC18F9-7846-450B-A62C-EAE6EACD6254}" authorId="{FED73FBC-A036-D1F6-3299-491A76AB1ED9}" created="2023-07-26T16:56:55.394">
        <p188:txBody>
          <a:bodyPr/>
          <a:lstStyle/>
          <a:p>
            <a:r>
              <a:rPr lang="en-US"/>
              <a:t>Wonderful, I will get them removed from all presentations. Thanks Krista!</a:t>
            </a:r>
          </a:p>
        </p188:txBody>
      </p188:reply>
    </p188:replyLst>
    <p188:txBody>
      <a:bodyPr/>
      <a:lstStyle/>
      <a:p>
        <a:r>
          <a:rPr lang="en-US"/>
          <a:t>Remove the page # on this slide.</a:t>
        </a:r>
      </a:p>
    </p188:txBody>
  </p188:cm>
  <p188:cm id="{100BDAD0-F9A5-491C-958B-7B16034FB4ED}" authorId="{CC7FC594-84DC-F570-4BCB-2191BF6A448C}" created="2023-07-26T15:09:31.717">
    <ac:txMkLst xmlns:ac="http://schemas.microsoft.com/office/drawing/2013/main/command">
      <pc:docMk xmlns:pc="http://schemas.microsoft.com/office/powerpoint/2013/main/command"/>
      <pc:sldMk xmlns:pc="http://schemas.microsoft.com/office/powerpoint/2013/main/command" cId="3388375151" sldId="826"/>
      <ac:spMk id="6" creationId="{03DB7BEA-64A9-8BC2-B0AF-DFD61C001233}"/>
      <ac:txMk cp="0" len="34">
        <ac:context len="35" hash="318298809"/>
      </ac:txMk>
    </ac:txMkLst>
    <p188:pos x="9321452" y="177452"/>
    <p188:txBody>
      <a:bodyPr/>
      <a:lstStyle/>
      <a:p>
        <a:r>
          <a:rPr lang="en-US"/>
          <a:t>I've seen that this idea is commonly translated as "Economiser du temps et de l'argent"</a:t>
        </a:r>
      </a:p>
    </p188:txBody>
  </p188:cm>
</p188:cmLst>
</file>

<file path=ppt/comments/modernComment_33B_2EF760E9.xml><?xml version="1.0" encoding="utf-8"?>
<p188:cmLst xmlns:a="http://schemas.openxmlformats.org/drawingml/2006/main" xmlns:r="http://schemas.openxmlformats.org/officeDocument/2006/relationships" xmlns:p188="http://schemas.microsoft.com/office/powerpoint/2018/8/main">
  <p188:cm id="{EFB39CB9-DAEC-4EEB-901D-01805BA8A179}" authorId="{B3D1B85B-17E4-EE27-E05D-40C5009AA99C}" created="2023-07-25T15:27:04.716">
    <pc:sldMkLst xmlns:pc="http://schemas.microsoft.com/office/powerpoint/2013/main/command">
      <pc:docMk/>
      <pc:sldMk cId="787964137" sldId="827"/>
    </pc:sldMkLst>
    <p188:txBody>
      <a:bodyPr/>
      <a:lstStyle/>
      <a:p>
        <a:r>
          <a:rPr lang="en-US"/>
          <a:t>Remove page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E52FE1-CCD4-DA4A-9401-C14580C5AC55}" type="datetimeFigureOut">
              <a:rPr lang="en-US" smtClean="0"/>
              <a:t>1/31/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D1130C-9DDE-7143-B00B-FB168B1F4C25}" type="slidenum">
              <a:rPr lang="en-US" smtClean="0"/>
              <a:t>‹#›</a:t>
            </a:fld>
            <a:endParaRPr lang="en-US"/>
          </a:p>
        </p:txBody>
      </p:sp>
    </p:spTree>
    <p:extLst>
      <p:ext uri="{BB962C8B-B14F-4D97-AF65-F5344CB8AC3E}">
        <p14:creationId xmlns:p14="http://schemas.microsoft.com/office/powerpoint/2010/main" val="3845788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A43A2C-642F-6749-9FE2-174AD2D6A55A}" type="datetimeFigureOut">
              <a:rPr lang="en-US" smtClean="0"/>
              <a:t>1/31/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15BBEC-FCFA-104A-A502-D7EB7C34468A}" type="slidenum">
              <a:rPr lang="en-US" smtClean="0"/>
              <a:t>‹#›</a:t>
            </a:fld>
            <a:endParaRPr lang="en-US"/>
          </a:p>
        </p:txBody>
      </p:sp>
    </p:spTree>
    <p:extLst>
      <p:ext uri="{BB962C8B-B14F-4D97-AF65-F5344CB8AC3E}">
        <p14:creationId xmlns:p14="http://schemas.microsoft.com/office/powerpoint/2010/main" val="166967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byupathway.org/"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1</a:t>
            </a:fld>
            <a:endParaRPr lang="en-US"/>
          </a:p>
        </p:txBody>
      </p:sp>
    </p:spTree>
    <p:extLst>
      <p:ext uri="{BB962C8B-B14F-4D97-AF65-F5344CB8AC3E}">
        <p14:creationId xmlns:p14="http://schemas.microsoft.com/office/powerpoint/2010/main" val="1300984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3</a:t>
            </a:fld>
            <a:endParaRPr lang="en-US"/>
          </a:p>
        </p:txBody>
      </p:sp>
    </p:spTree>
    <p:extLst>
      <p:ext uri="{BB962C8B-B14F-4D97-AF65-F5344CB8AC3E}">
        <p14:creationId xmlns:p14="http://schemas.microsoft.com/office/powerpoint/2010/main" val="739231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4</a:t>
            </a:fld>
            <a:endParaRPr lang="en-US"/>
          </a:p>
        </p:txBody>
      </p:sp>
    </p:spTree>
    <p:extLst>
      <p:ext uri="{BB962C8B-B14F-4D97-AF65-F5344CB8AC3E}">
        <p14:creationId xmlns:p14="http://schemas.microsoft.com/office/powerpoint/2010/main" val="29973953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5</a:t>
            </a:fld>
            <a:endParaRPr lang="en-US"/>
          </a:p>
        </p:txBody>
      </p:sp>
    </p:spTree>
    <p:extLst>
      <p:ext uri="{BB962C8B-B14F-4D97-AF65-F5344CB8AC3E}">
        <p14:creationId xmlns:p14="http://schemas.microsoft.com/office/powerpoint/2010/main" val="12007520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6</a:t>
            </a:fld>
            <a:endParaRPr lang="en-US"/>
          </a:p>
        </p:txBody>
      </p:sp>
    </p:spTree>
    <p:extLst>
      <p:ext uri="{BB962C8B-B14F-4D97-AF65-F5344CB8AC3E}">
        <p14:creationId xmlns:p14="http://schemas.microsoft.com/office/powerpoint/2010/main" val="406814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7</a:t>
            </a:fld>
            <a:endParaRPr lang="en-US"/>
          </a:p>
        </p:txBody>
      </p:sp>
    </p:spTree>
    <p:extLst>
      <p:ext uri="{BB962C8B-B14F-4D97-AF65-F5344CB8AC3E}">
        <p14:creationId xmlns:p14="http://schemas.microsoft.com/office/powerpoint/2010/main" val="29960453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8</a:t>
            </a:fld>
            <a:endParaRPr lang="en-US"/>
          </a:p>
        </p:txBody>
      </p:sp>
    </p:spTree>
    <p:extLst>
      <p:ext uri="{BB962C8B-B14F-4D97-AF65-F5344CB8AC3E}">
        <p14:creationId xmlns:p14="http://schemas.microsoft.com/office/powerpoint/2010/main" val="39478392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9</a:t>
            </a:fld>
            <a:endParaRPr lang="en-US"/>
          </a:p>
        </p:txBody>
      </p:sp>
    </p:spTree>
    <p:extLst>
      <p:ext uri="{BB962C8B-B14F-4D97-AF65-F5344CB8AC3E}">
        <p14:creationId xmlns:p14="http://schemas.microsoft.com/office/powerpoint/2010/main" val="1905654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t>Chaque étudiant a un chemin unique vers un diplôme, et BYU-Pathway fournit une voie à suivre pour chacun d’eux, quelles que soient les circonstances économiques, culturelles et personnelles.</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20</a:t>
            </a:fld>
            <a:endParaRPr lang="en-US"/>
          </a:p>
        </p:txBody>
      </p:sp>
    </p:spTree>
    <p:extLst>
      <p:ext uri="{BB962C8B-B14F-4D97-AF65-F5344CB8AC3E}">
        <p14:creationId xmlns:p14="http://schemas.microsoft.com/office/powerpoint/2010/main" val="1035067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1</a:t>
            </a:fld>
            <a:endParaRPr lang="en-US"/>
          </a:p>
        </p:txBody>
      </p:sp>
    </p:spTree>
    <p:extLst>
      <p:ext uri="{BB962C8B-B14F-4D97-AF65-F5344CB8AC3E}">
        <p14:creationId xmlns:p14="http://schemas.microsoft.com/office/powerpoint/2010/main" val="34994508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2</a:t>
            </a:fld>
            <a:endParaRPr lang="en-US"/>
          </a:p>
        </p:txBody>
      </p:sp>
    </p:spTree>
    <p:extLst>
      <p:ext uri="{BB962C8B-B14F-4D97-AF65-F5344CB8AC3E}">
        <p14:creationId xmlns:p14="http://schemas.microsoft.com/office/powerpoint/2010/main" val="1556740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a:t>
            </a:fld>
            <a:endParaRPr lang="en-US"/>
          </a:p>
        </p:txBody>
      </p:sp>
    </p:spTree>
    <p:extLst>
      <p:ext uri="{BB962C8B-B14F-4D97-AF65-F5344CB8AC3E}">
        <p14:creationId xmlns:p14="http://schemas.microsoft.com/office/powerpoint/2010/main" val="29051338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defRPr>
                <a:solidFill>
                  <a:srgbClr val="2D2D2D"/>
                </a:solidFill>
                <a:latin typeface="Arvo"/>
              </a:defRPr>
            </a:pPr>
            <a:r>
              <a:rPr>
                <a:effectLst/>
              </a:rPr>
              <a:t>BYU-Pathway </a:t>
            </a:r>
            <a:r>
              <a:rPr err="1">
                <a:effectLst/>
              </a:rPr>
              <a:t>connaît</a:t>
            </a:r>
            <a:r>
              <a:rPr>
                <a:effectLst/>
              </a:rPr>
              <a:t> </a:t>
            </a:r>
            <a:r>
              <a:rPr err="1">
                <a:effectLst/>
              </a:rPr>
              <a:t>une</a:t>
            </a:r>
            <a:r>
              <a:rPr>
                <a:effectLst/>
              </a:rPr>
              <a:t> </a:t>
            </a:r>
            <a:r>
              <a:rPr err="1">
                <a:effectLst/>
              </a:rPr>
              <a:t>croissance</a:t>
            </a:r>
            <a:r>
              <a:rPr>
                <a:effectLst/>
              </a:rPr>
              <a:t> </a:t>
            </a:r>
            <a:r>
              <a:rPr err="1">
                <a:effectLst/>
              </a:rPr>
              <a:t>rapide</a:t>
            </a:r>
            <a:r>
              <a:rPr>
                <a:effectLst/>
              </a:rPr>
              <a:t>, </a:t>
            </a:r>
            <a:r>
              <a:rPr err="1">
                <a:effectLst/>
              </a:rPr>
              <a:t>desservant</a:t>
            </a:r>
            <a:r>
              <a:rPr>
                <a:effectLst/>
              </a:rPr>
              <a:t> </a:t>
            </a:r>
            <a:r>
              <a:t>61 338 </a:t>
            </a:r>
            <a:r>
              <a:rPr err="1">
                <a:effectLst/>
              </a:rPr>
              <a:t>étudiants</a:t>
            </a:r>
            <a:r>
              <a:rPr>
                <a:effectLst/>
              </a:rPr>
              <a:t> </a:t>
            </a:r>
            <a:r>
              <a:rPr err="1">
                <a:effectLst/>
              </a:rPr>
              <a:t>en</a:t>
            </a:r>
            <a:r>
              <a:rPr>
                <a:effectLst/>
              </a:rPr>
              <a:t> 2022</a:t>
            </a:r>
            <a:r>
              <a:t>, dans les 50 </a:t>
            </a:r>
            <a:r>
              <a:rPr err="1"/>
              <a:t>États</a:t>
            </a:r>
            <a:r>
              <a:t> et dans plus de 180 pays à travers le monde.</a:t>
            </a:r>
            <a:endParaRPr lang="en-US" b="1">
              <a:solidFill>
                <a:srgbClr val="000000"/>
              </a:solidFill>
              <a:latin typeface="Calibri"/>
              <a:cs typeface="Calibri"/>
            </a:endParaRPr>
          </a:p>
          <a:p>
            <a:pPr marL="171450" indent="-171450">
              <a:buFont typeface="Calibri"/>
              <a:buChar char="-"/>
              <a:defRPr>
                <a:solidFill>
                  <a:srgbClr val="2D2D2D"/>
                </a:solidFill>
                <a:latin typeface="Arvo"/>
              </a:defRPr>
            </a:pPr>
            <a:r>
              <a:rPr err="1">
                <a:effectLst/>
              </a:rPr>
              <a:t>Chaque</a:t>
            </a:r>
            <a:r>
              <a:rPr>
                <a:effectLst/>
              </a:rPr>
              <a:t> </a:t>
            </a:r>
            <a:r>
              <a:rPr err="1">
                <a:effectLst/>
              </a:rPr>
              <a:t>nombre</a:t>
            </a:r>
            <a:r>
              <a:rPr>
                <a:effectLst/>
              </a:rPr>
              <a:t> de </a:t>
            </a:r>
            <a:r>
              <a:rPr err="1">
                <a:effectLst/>
              </a:rPr>
              <a:t>ce</a:t>
            </a:r>
            <a:r>
              <a:rPr>
                <a:effectLst/>
              </a:rPr>
              <a:t> total </a:t>
            </a:r>
            <a:r>
              <a:rPr err="1">
                <a:effectLst/>
              </a:rPr>
              <a:t>représente</a:t>
            </a:r>
            <a:r>
              <a:rPr>
                <a:effectLst/>
              </a:rPr>
              <a:t> </a:t>
            </a:r>
            <a:r>
              <a:rPr err="1">
                <a:effectLst/>
              </a:rPr>
              <a:t>une</a:t>
            </a:r>
            <a:r>
              <a:rPr>
                <a:effectLst/>
              </a:rPr>
              <a:t> </a:t>
            </a:r>
            <a:r>
              <a:rPr err="1">
                <a:effectLst/>
              </a:rPr>
              <a:t>personne</a:t>
            </a:r>
            <a:r>
              <a:rPr>
                <a:effectLst/>
              </a:rPr>
              <a:t> avec des </a:t>
            </a:r>
            <a:r>
              <a:rPr err="1">
                <a:effectLst/>
              </a:rPr>
              <a:t>expériences</a:t>
            </a:r>
            <a:r>
              <a:rPr>
                <a:effectLst/>
              </a:rPr>
              <a:t>, des talents et des </a:t>
            </a:r>
            <a:r>
              <a:rPr err="1">
                <a:effectLst/>
              </a:rPr>
              <a:t>besoins</a:t>
            </a:r>
            <a:r>
              <a:rPr>
                <a:effectLst/>
              </a:rPr>
              <a:t> </a:t>
            </a:r>
            <a:r>
              <a:rPr err="1">
                <a:effectLst/>
              </a:rPr>
              <a:t>uniques</a:t>
            </a:r>
            <a:r>
              <a:rPr>
                <a:effectLst/>
              </a:rPr>
              <a:t> – </a:t>
            </a:r>
            <a:r>
              <a:rPr err="1">
                <a:effectLst/>
              </a:rPr>
              <a:t>dont</a:t>
            </a:r>
            <a:r>
              <a:rPr>
                <a:effectLst/>
              </a:rPr>
              <a:t> beaucoup </a:t>
            </a:r>
            <a:r>
              <a:rPr err="1">
                <a:effectLst/>
              </a:rPr>
              <a:t>aspirent</a:t>
            </a:r>
            <a:r>
              <a:rPr>
                <a:effectLst/>
              </a:rPr>
              <a:t> à de </a:t>
            </a:r>
            <a:r>
              <a:rPr err="1">
                <a:effectLst/>
              </a:rPr>
              <a:t>nouvelles</a:t>
            </a:r>
            <a:r>
              <a:rPr>
                <a:effectLst/>
              </a:rPr>
              <a:t> </a:t>
            </a:r>
            <a:r>
              <a:rPr err="1">
                <a:effectLst/>
              </a:rPr>
              <a:t>opportunités</a:t>
            </a:r>
            <a:r>
              <a:rPr>
                <a:effectLst/>
              </a:rPr>
              <a:t> et </a:t>
            </a:r>
            <a:r>
              <a:rPr err="1">
                <a:effectLst/>
              </a:rPr>
              <a:t>prient</a:t>
            </a:r>
            <a:r>
              <a:rPr>
                <a:effectLst/>
              </a:rPr>
              <a:t> pour des miracles.</a:t>
            </a:r>
            <a:r>
              <a:rPr lang="en-US"/>
              <a:t> </a:t>
            </a:r>
            <a:endParaRPr lang="en-US">
              <a:solidFill>
                <a:srgbClr val="000000"/>
              </a:solidFill>
              <a:latin typeface="Calibri" panose="020F0502020204030204"/>
              <a:cs typeface="Calibri"/>
            </a:endParaRPr>
          </a:p>
          <a:p>
            <a:pPr marL="171450" indent="-171450">
              <a:buFont typeface="Calibri"/>
              <a:buChar char="-"/>
              <a:defRPr/>
            </a:pPr>
            <a:r>
              <a:rPr>
                <a:solidFill>
                  <a:srgbClr val="2D2D2D"/>
                </a:solidFill>
                <a:latin typeface="Arvo"/>
              </a:rPr>
              <a:t>Un esprit </a:t>
            </a:r>
            <a:r>
              <a:rPr err="1">
                <a:solidFill>
                  <a:srgbClr val="2D2D2D"/>
                </a:solidFill>
                <a:latin typeface="Arvo"/>
              </a:rPr>
              <a:t>spécial</a:t>
            </a:r>
            <a:r>
              <a:rPr>
                <a:solidFill>
                  <a:srgbClr val="2D2D2D"/>
                </a:solidFill>
                <a:latin typeface="Arvo"/>
              </a:rPr>
              <a:t> </a:t>
            </a:r>
            <a:r>
              <a:rPr err="1">
                <a:solidFill>
                  <a:srgbClr val="2D2D2D"/>
                </a:solidFill>
                <a:latin typeface="Arvo"/>
              </a:rPr>
              <a:t>d’unité</a:t>
            </a:r>
            <a:r>
              <a:rPr>
                <a:solidFill>
                  <a:srgbClr val="2D2D2D"/>
                </a:solidFill>
                <a:latin typeface="Arvo"/>
              </a:rPr>
              <a:t> </a:t>
            </a:r>
            <a:r>
              <a:rPr err="1">
                <a:solidFill>
                  <a:srgbClr val="2D2D2D"/>
                </a:solidFill>
                <a:latin typeface="Arvo"/>
              </a:rPr>
              <a:t>existe</a:t>
            </a:r>
            <a:r>
              <a:rPr>
                <a:solidFill>
                  <a:srgbClr val="2D2D2D"/>
                </a:solidFill>
                <a:latin typeface="Arvo"/>
              </a:rPr>
              <a:t> à </a:t>
            </a:r>
            <a:r>
              <a:rPr u="sng">
                <a:effectLst/>
                <a:latin typeface="Open Sans"/>
                <a:ea typeface="Open Sans"/>
                <a:cs typeface="Open Sans"/>
                <a:hlinkClick r:id="rId3"/>
              </a:rPr>
              <a:t>BYU-Pathway Worldwide</a:t>
            </a:r>
            <a:r>
              <a:rPr>
                <a:solidFill>
                  <a:srgbClr val="58595B"/>
                </a:solidFill>
                <a:effectLst/>
                <a:latin typeface="Open Sans"/>
                <a:ea typeface="Open Sans"/>
                <a:cs typeface="Open Sans"/>
              </a:rPr>
              <a:t> </a:t>
            </a:r>
            <a:r>
              <a:rPr lang="en-US" err="1">
                <a:solidFill>
                  <a:srgbClr val="2D2D2D"/>
                </a:solidFill>
                <a:latin typeface="Arvo"/>
              </a:rPr>
              <a:t>tandis</a:t>
            </a:r>
            <a:r>
              <a:rPr lang="en-US">
                <a:solidFill>
                  <a:srgbClr val="2D2D2D"/>
                </a:solidFill>
                <a:latin typeface="Arvo"/>
              </a:rPr>
              <a:t> </a:t>
            </a:r>
            <a:r>
              <a:rPr>
                <a:solidFill>
                  <a:srgbClr val="2D2D2D"/>
                </a:solidFill>
                <a:latin typeface="Arvo"/>
              </a:rPr>
              <a:t>que des </a:t>
            </a:r>
            <a:r>
              <a:rPr err="1">
                <a:solidFill>
                  <a:srgbClr val="2D2D2D"/>
                </a:solidFill>
                <a:latin typeface="Arvo"/>
              </a:rPr>
              <a:t>étudiants</a:t>
            </a:r>
            <a:r>
              <a:rPr>
                <a:solidFill>
                  <a:srgbClr val="2D2D2D"/>
                </a:solidFill>
                <a:latin typeface="Arvo"/>
              </a:rPr>
              <a:t> du monde </a:t>
            </a:r>
            <a:r>
              <a:rPr err="1">
                <a:solidFill>
                  <a:srgbClr val="2D2D2D"/>
                </a:solidFill>
                <a:latin typeface="Arvo"/>
              </a:rPr>
              <a:t>entier</a:t>
            </a:r>
            <a:r>
              <a:rPr>
                <a:solidFill>
                  <a:srgbClr val="2D2D2D"/>
                </a:solidFill>
                <a:latin typeface="Arvo"/>
              </a:rPr>
              <a:t> se </a:t>
            </a:r>
            <a:r>
              <a:rPr err="1">
                <a:solidFill>
                  <a:srgbClr val="2D2D2D"/>
                </a:solidFill>
                <a:latin typeface="Arvo"/>
              </a:rPr>
              <a:t>rassemblent</a:t>
            </a:r>
            <a:r>
              <a:rPr>
                <a:solidFill>
                  <a:srgbClr val="2D2D2D"/>
                </a:solidFill>
                <a:latin typeface="Arvo"/>
              </a:rPr>
              <a:t> et </a:t>
            </a:r>
            <a:r>
              <a:rPr err="1">
                <a:solidFill>
                  <a:srgbClr val="2D2D2D"/>
                </a:solidFill>
                <a:latin typeface="Arvo"/>
              </a:rPr>
              <a:t>participent</a:t>
            </a:r>
            <a:r>
              <a:rPr>
                <a:solidFill>
                  <a:srgbClr val="2D2D2D"/>
                </a:solidFill>
                <a:latin typeface="Arvo"/>
              </a:rPr>
              <a:t> à des </a:t>
            </a:r>
            <a:r>
              <a:rPr err="1">
                <a:solidFill>
                  <a:srgbClr val="2D2D2D"/>
                </a:solidFill>
                <a:latin typeface="Arvo"/>
              </a:rPr>
              <a:t>cours</a:t>
            </a:r>
            <a:r>
              <a:rPr>
                <a:solidFill>
                  <a:srgbClr val="2D2D2D"/>
                </a:solidFill>
                <a:latin typeface="Arvo"/>
              </a:rPr>
              <a:t> qui </a:t>
            </a:r>
            <a:r>
              <a:rPr err="1">
                <a:solidFill>
                  <a:srgbClr val="2D2D2D"/>
                </a:solidFill>
                <a:latin typeface="Arvo"/>
              </a:rPr>
              <a:t>intègrent</a:t>
            </a:r>
            <a:r>
              <a:rPr>
                <a:solidFill>
                  <a:srgbClr val="2D2D2D"/>
                </a:solidFill>
                <a:latin typeface="Arvo"/>
              </a:rPr>
              <a:t> les </a:t>
            </a:r>
            <a:r>
              <a:rPr err="1">
                <a:solidFill>
                  <a:srgbClr val="2D2D2D"/>
                </a:solidFill>
                <a:latin typeface="Arvo"/>
              </a:rPr>
              <a:t>enseignements</a:t>
            </a:r>
            <a:r>
              <a:rPr>
                <a:solidFill>
                  <a:srgbClr val="2D2D2D"/>
                </a:solidFill>
                <a:latin typeface="Arvo"/>
              </a:rPr>
              <a:t> de Jésus-Christ.</a:t>
            </a:r>
            <a:endParaRPr lang="en-US">
              <a:solidFill>
                <a:srgbClr val="000000"/>
              </a:solidFill>
              <a:latin typeface="Calibri" panose="020F0502020204030204"/>
              <a:cs typeface="Calibri"/>
            </a:endParaRPr>
          </a:p>
          <a:p>
            <a:pPr marL="171450" indent="-171450">
              <a:buFont typeface="Calibri"/>
              <a:buChar char="-"/>
              <a:defRPr>
                <a:solidFill>
                  <a:srgbClr val="2D2D2D"/>
                </a:solidFill>
                <a:latin typeface="Arvo"/>
              </a:defRPr>
            </a:pPr>
            <a:r>
              <a:t>Par </a:t>
            </a:r>
            <a:r>
              <a:rPr err="1"/>
              <a:t>conséquent</a:t>
            </a:r>
            <a:r>
              <a:t>, BYU-Pathway a un </a:t>
            </a:r>
            <a:r>
              <a:rPr err="1"/>
              <a:t>rôle</a:t>
            </a:r>
            <a:r>
              <a:t> unique à </a:t>
            </a:r>
            <a:r>
              <a:rPr err="1"/>
              <a:t>jouer</a:t>
            </a:r>
            <a:r>
              <a:t> dans la construction de Sion.</a:t>
            </a:r>
            <a:endParaRPr lang="en-US">
              <a:solidFill>
                <a:srgbClr val="000000"/>
              </a:solidFill>
              <a:latin typeface="Calibri" panose="020F0502020204030204"/>
              <a:cs typeface="Calibri"/>
            </a:endParaRPr>
          </a:p>
          <a:p>
            <a:pPr marL="171450" indent="-171450">
              <a:buFont typeface="Calibri"/>
              <a:buChar char="-"/>
              <a:defRPr>
                <a:solidFill>
                  <a:srgbClr val="2D2D2D"/>
                </a:solidFill>
                <a:latin typeface="Arvo"/>
              </a:defRPr>
            </a:pPr>
            <a:r>
              <a:t>Plus </a:t>
            </a:r>
            <a:r>
              <a:rPr err="1"/>
              <a:t>d’infos</a:t>
            </a:r>
            <a:r>
              <a:t> sur: https://www.byupathway.org/annual-report-2022</a:t>
            </a:r>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23</a:t>
            </a:fld>
            <a:endParaRPr lang="en-US"/>
          </a:p>
        </p:txBody>
      </p:sp>
    </p:spTree>
    <p:extLst>
      <p:ext uri="{BB962C8B-B14F-4D97-AF65-F5344CB8AC3E}">
        <p14:creationId xmlns:p14="http://schemas.microsoft.com/office/powerpoint/2010/main" val="128284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4</a:t>
            </a:fld>
            <a:endParaRPr lang="en-US"/>
          </a:p>
        </p:txBody>
      </p:sp>
    </p:spTree>
    <p:extLst>
      <p:ext uri="{BB962C8B-B14F-4D97-AF65-F5344CB8AC3E}">
        <p14:creationId xmlns:p14="http://schemas.microsoft.com/office/powerpoint/2010/main" val="19685286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5</a:t>
            </a:fld>
            <a:endParaRPr lang="en-US"/>
          </a:p>
        </p:txBody>
      </p:sp>
    </p:spTree>
    <p:extLst>
      <p:ext uri="{BB962C8B-B14F-4D97-AF65-F5344CB8AC3E}">
        <p14:creationId xmlns:p14="http://schemas.microsoft.com/office/powerpoint/2010/main" val="17391170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6</a:t>
            </a:fld>
            <a:endParaRPr lang="en-US"/>
          </a:p>
        </p:txBody>
      </p:sp>
    </p:spTree>
    <p:extLst>
      <p:ext uri="{BB962C8B-B14F-4D97-AF65-F5344CB8AC3E}">
        <p14:creationId xmlns:p14="http://schemas.microsoft.com/office/powerpoint/2010/main" val="879864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7</a:t>
            </a:fld>
            <a:endParaRPr lang="en-US"/>
          </a:p>
        </p:txBody>
      </p:sp>
    </p:spTree>
    <p:extLst>
      <p:ext uri="{BB962C8B-B14F-4D97-AF65-F5344CB8AC3E}">
        <p14:creationId xmlns:p14="http://schemas.microsoft.com/office/powerpoint/2010/main" val="13690058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8</a:t>
            </a:fld>
            <a:endParaRPr lang="en-US"/>
          </a:p>
        </p:txBody>
      </p:sp>
    </p:spTree>
    <p:extLst>
      <p:ext uri="{BB962C8B-B14F-4D97-AF65-F5344CB8AC3E}">
        <p14:creationId xmlns:p14="http://schemas.microsoft.com/office/powerpoint/2010/main" val="30652782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Remarque: </a:t>
            </a:r>
            <a:r>
              <a:rPr err="1"/>
              <a:t>vous</a:t>
            </a:r>
            <a:r>
              <a:t> </a:t>
            </a:r>
            <a:r>
              <a:rPr err="1"/>
              <a:t>pouvez</a:t>
            </a:r>
            <a:r>
              <a:t> </a:t>
            </a:r>
            <a:r>
              <a:rPr err="1"/>
              <a:t>également</a:t>
            </a:r>
            <a:r>
              <a:t> demander à un </a:t>
            </a:r>
            <a:r>
              <a:rPr err="1"/>
              <a:t>ancien</a:t>
            </a:r>
            <a:r>
              <a:t> </a:t>
            </a:r>
            <a:r>
              <a:rPr err="1"/>
              <a:t>ou</a:t>
            </a:r>
            <a:r>
              <a:t> à un </a:t>
            </a:r>
            <a:r>
              <a:rPr err="1"/>
              <a:t>étudiant</a:t>
            </a:r>
            <a:r>
              <a:t> </a:t>
            </a:r>
            <a:r>
              <a:rPr err="1"/>
              <a:t>actuel</a:t>
            </a:r>
            <a:r>
              <a:t> de BYU-Pathway de </a:t>
            </a:r>
            <a:r>
              <a:rPr err="1"/>
              <a:t>partager</a:t>
            </a:r>
            <a:r>
              <a:t> son </a:t>
            </a:r>
            <a:r>
              <a:rPr err="1"/>
              <a:t>témoignage</a:t>
            </a:r>
            <a:r>
              <a:t> / </a:t>
            </a:r>
            <a:r>
              <a:rPr err="1"/>
              <a:t>expérience</a:t>
            </a:r>
            <a:r>
              <a:t> et / </a:t>
            </a:r>
            <a:r>
              <a:rPr err="1"/>
              <a:t>ou</a:t>
            </a:r>
            <a:r>
              <a:t> de </a:t>
            </a:r>
            <a:r>
              <a:rPr err="1"/>
              <a:t>partager</a:t>
            </a:r>
            <a:r>
              <a:t> </a:t>
            </a:r>
            <a:r>
              <a:rPr err="1"/>
              <a:t>votre</a:t>
            </a:r>
            <a:r>
              <a:t> propre </a:t>
            </a:r>
            <a:r>
              <a:rPr err="1"/>
              <a:t>témoignage</a:t>
            </a:r>
            <a:r>
              <a:t> sur </a:t>
            </a:r>
            <a:r>
              <a:rPr err="1"/>
              <a:t>l’importance</a:t>
            </a:r>
            <a:r>
              <a:t> de </a:t>
            </a:r>
            <a:r>
              <a:rPr err="1"/>
              <a:t>l’éducation</a:t>
            </a:r>
            <a:r>
              <a:t>.</a:t>
            </a:r>
            <a:r>
              <a:rPr lang="en-US"/>
              <a:t> </a:t>
            </a:r>
            <a:r>
              <a:rPr err="1"/>
              <a:t>Envisagez</a:t>
            </a:r>
            <a:r>
              <a:t> de </a:t>
            </a:r>
            <a:r>
              <a:rPr err="1"/>
              <a:t>distribuer</a:t>
            </a:r>
            <a:r>
              <a:t> des documents aux participants </a:t>
            </a:r>
            <a:r>
              <a:rPr err="1"/>
              <a:t>afin</a:t>
            </a:r>
            <a:r>
              <a:t> </a:t>
            </a:r>
            <a:r>
              <a:rPr err="1"/>
              <a:t>qu’ils</a:t>
            </a:r>
            <a:r>
              <a:t> </a:t>
            </a:r>
            <a:r>
              <a:rPr err="1"/>
              <a:t>puissent</a:t>
            </a:r>
            <a:r>
              <a:t> </a:t>
            </a:r>
            <a:r>
              <a:rPr err="1"/>
              <a:t>en</a:t>
            </a:r>
            <a:r>
              <a:t> </a:t>
            </a:r>
            <a:r>
              <a:rPr err="1"/>
              <a:t>apprendre</a:t>
            </a:r>
            <a:r>
              <a:t> </a:t>
            </a:r>
            <a:r>
              <a:rPr err="1"/>
              <a:t>davantage</a:t>
            </a:r>
            <a:r>
              <a:t> et/</a:t>
            </a:r>
            <a:r>
              <a:rPr err="1"/>
              <a:t>ou</a:t>
            </a:r>
            <a:r>
              <a:t> </a:t>
            </a:r>
            <a:r>
              <a:rPr err="1"/>
              <a:t>partager</a:t>
            </a:r>
            <a:r>
              <a:t> avec </a:t>
            </a:r>
            <a:r>
              <a:rPr err="1"/>
              <a:t>d’autres</a:t>
            </a:r>
            <a:r>
              <a:t>.</a:t>
            </a:r>
            <a:r>
              <a:rPr lang="en-US"/>
              <a:t> </a:t>
            </a:r>
            <a:r>
              <a:t>Vous </a:t>
            </a:r>
            <a:r>
              <a:rPr err="1"/>
              <a:t>pouvez</a:t>
            </a:r>
            <a:r>
              <a:t> </a:t>
            </a:r>
            <a:r>
              <a:rPr err="1"/>
              <a:t>trouver</a:t>
            </a:r>
            <a:r>
              <a:t> des </a:t>
            </a:r>
            <a:r>
              <a:rPr err="1"/>
              <a:t>ressources</a:t>
            </a:r>
            <a:r>
              <a:t> à byupathway.org/marketing-resources].</a:t>
            </a:r>
            <a:endParaRPr lang="en-US">
              <a:cs typeface="Calibri"/>
            </a:endParaRPr>
          </a:p>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29</a:t>
            </a:fld>
            <a:endParaRPr lang="en-US"/>
          </a:p>
        </p:txBody>
      </p:sp>
    </p:spTree>
    <p:extLst>
      <p:ext uri="{BB962C8B-B14F-4D97-AF65-F5344CB8AC3E}">
        <p14:creationId xmlns:p14="http://schemas.microsoft.com/office/powerpoint/2010/main" val="12990583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0</a:t>
            </a:fld>
            <a:endParaRPr lang="en-US"/>
          </a:p>
        </p:txBody>
      </p:sp>
    </p:spTree>
    <p:extLst>
      <p:ext uri="{BB962C8B-B14F-4D97-AF65-F5344CB8AC3E}">
        <p14:creationId xmlns:p14="http://schemas.microsoft.com/office/powerpoint/2010/main" val="41546857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t>[Remarque : Les cinq diapositives </a:t>
            </a:r>
            <a:r>
              <a:rPr err="1"/>
              <a:t>suivantes</a:t>
            </a:r>
            <a:r>
              <a:t> </a:t>
            </a:r>
            <a:r>
              <a:rPr err="1"/>
              <a:t>peuvent</a:t>
            </a:r>
            <a:r>
              <a:t> </a:t>
            </a:r>
            <a:r>
              <a:rPr err="1"/>
              <a:t>être</a:t>
            </a:r>
            <a:r>
              <a:t> </a:t>
            </a:r>
            <a:r>
              <a:rPr err="1"/>
              <a:t>présentées</a:t>
            </a:r>
            <a:r>
              <a:t> </a:t>
            </a:r>
            <a:r>
              <a:rPr err="1"/>
              <a:t>lorsque</a:t>
            </a:r>
            <a:r>
              <a:t> </a:t>
            </a:r>
            <a:r>
              <a:rPr err="1"/>
              <a:t>vous</a:t>
            </a:r>
            <a:r>
              <a:t> les </a:t>
            </a:r>
            <a:r>
              <a:rPr err="1"/>
              <a:t>partagez</a:t>
            </a:r>
            <a:r>
              <a:t> avec les </a:t>
            </a:r>
            <a:r>
              <a:rPr err="1"/>
              <a:t>dirigeants</a:t>
            </a:r>
            <a:r>
              <a:t> de </a:t>
            </a:r>
            <a:r>
              <a:rPr err="1"/>
              <a:t>l’Église</a:t>
            </a:r>
            <a:r>
              <a:t>.</a:t>
            </a:r>
            <a:r>
              <a:rPr lang="en-US"/>
              <a:t> </a:t>
            </a:r>
            <a:r>
              <a:t>Il </a:t>
            </a:r>
            <a:r>
              <a:rPr err="1"/>
              <a:t>est</a:t>
            </a:r>
            <a:r>
              <a:t> </a:t>
            </a:r>
            <a:r>
              <a:rPr err="1"/>
              <a:t>essentiel</a:t>
            </a:r>
            <a:r>
              <a:t> que les </a:t>
            </a:r>
            <a:r>
              <a:rPr err="1"/>
              <a:t>dirigeants</a:t>
            </a:r>
            <a:r>
              <a:t> de </a:t>
            </a:r>
            <a:r>
              <a:rPr err="1"/>
              <a:t>l’Église</a:t>
            </a:r>
            <a:r>
              <a:t> </a:t>
            </a:r>
            <a:r>
              <a:rPr err="1"/>
              <a:t>comprennent</a:t>
            </a:r>
            <a:r>
              <a:t> comment BYU-Pathway </a:t>
            </a:r>
            <a:r>
              <a:rPr err="1"/>
              <a:t>peut</a:t>
            </a:r>
            <a:r>
              <a:t> </a:t>
            </a:r>
            <a:r>
              <a:rPr err="1"/>
              <a:t>servir</a:t>
            </a:r>
            <a:r>
              <a:t> </a:t>
            </a:r>
            <a:r>
              <a:rPr err="1"/>
              <a:t>d’outil</a:t>
            </a:r>
            <a:r>
              <a:t> puissant dans </a:t>
            </a:r>
            <a:r>
              <a:rPr err="1"/>
              <a:t>leurs</a:t>
            </a:r>
            <a:r>
              <a:t> efforts de </a:t>
            </a:r>
            <a:r>
              <a:rPr err="1"/>
              <a:t>ministère</a:t>
            </a:r>
            <a: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a:defRPr/>
            </a:pPr>
            <a:r>
              <a:rPr err="1"/>
              <a:t>Pourquoi</a:t>
            </a:r>
            <a:r>
              <a:t> le </a:t>
            </a:r>
            <a:r>
              <a:rPr err="1"/>
              <a:t>président</a:t>
            </a:r>
            <a:r>
              <a:t> Russell M. Nelson a-t-il </a:t>
            </a:r>
            <a:r>
              <a:rPr err="1"/>
              <a:t>déclaré</a:t>
            </a:r>
            <a:r>
              <a:t> que BYU-Pathway </a:t>
            </a:r>
            <a:r>
              <a:rPr err="1"/>
              <a:t>est</a:t>
            </a:r>
            <a:r>
              <a:t> unique au monde? </a:t>
            </a:r>
            <a:r>
              <a:rPr err="1"/>
              <a:t>L’une</a:t>
            </a:r>
            <a:r>
              <a:t> des raisons </a:t>
            </a:r>
            <a:r>
              <a:rPr err="1"/>
              <a:t>est</a:t>
            </a:r>
            <a:r>
              <a:t> que BYU-Pathway Worldwide </a:t>
            </a:r>
            <a:r>
              <a:rPr err="1"/>
              <a:t>est</a:t>
            </a:r>
            <a:r>
              <a:t> </a:t>
            </a:r>
            <a:r>
              <a:rPr err="1"/>
              <a:t>une</a:t>
            </a:r>
            <a:r>
              <a:t> </a:t>
            </a:r>
            <a:r>
              <a:rPr err="1"/>
              <a:t>organisation</a:t>
            </a:r>
            <a:r>
              <a:t> </a:t>
            </a:r>
            <a:r>
              <a:rPr err="1"/>
              <a:t>d’enseignement</a:t>
            </a:r>
            <a:r>
              <a:t> </a:t>
            </a:r>
            <a:r>
              <a:rPr err="1"/>
              <a:t>supérieur</a:t>
            </a:r>
            <a:r>
              <a:t> </a:t>
            </a:r>
            <a:r>
              <a:rPr err="1"/>
              <a:t>dont</a:t>
            </a:r>
            <a:r>
              <a:t> la mission </a:t>
            </a:r>
            <a:r>
              <a:rPr err="1"/>
              <a:t>est</a:t>
            </a:r>
            <a:r>
              <a:t> de « former des disciples de Jésus-Christ qui </a:t>
            </a:r>
            <a:r>
              <a:rPr err="1"/>
              <a:t>sont</a:t>
            </a:r>
            <a:r>
              <a:t> des leaders dans </a:t>
            </a:r>
            <a:r>
              <a:rPr err="1"/>
              <a:t>leurs</a:t>
            </a:r>
            <a:r>
              <a:t> foyers, </a:t>
            </a:r>
            <a:r>
              <a:rPr err="1"/>
              <a:t>l’Église</a:t>
            </a:r>
            <a:r>
              <a:t> et </a:t>
            </a:r>
            <a:r>
              <a:rPr err="1"/>
              <a:t>leurs</a:t>
            </a:r>
            <a:r>
              <a:t> </a:t>
            </a:r>
            <a:r>
              <a:rPr err="1"/>
              <a:t>communautés</a:t>
            </a:r>
            <a:r>
              <a:t> ». En </a:t>
            </a:r>
            <a:r>
              <a:rPr err="1"/>
              <a:t>conséquence</a:t>
            </a:r>
            <a:r>
              <a:t>, les </a:t>
            </a:r>
            <a:r>
              <a:rPr err="1"/>
              <a:t>élèves</a:t>
            </a:r>
            <a:r>
              <a:t> qui </a:t>
            </a:r>
            <a:r>
              <a:rPr err="1"/>
              <a:t>participent</a:t>
            </a:r>
            <a:r>
              <a:t> à BYU-Pathway </a:t>
            </a:r>
            <a:r>
              <a:rPr err="1"/>
              <a:t>reçoivent</a:t>
            </a:r>
            <a:r>
              <a:t> </a:t>
            </a:r>
            <a:r>
              <a:rPr err="1"/>
              <a:t>l’Évangile</a:t>
            </a:r>
            <a:r>
              <a:t> de Jésus-Christ dans </a:t>
            </a:r>
            <a:r>
              <a:rPr err="1"/>
              <a:t>leur</a:t>
            </a:r>
            <a:r>
              <a:t> </a:t>
            </a:r>
            <a:r>
              <a:rPr err="1"/>
              <a:t>cœur</a:t>
            </a:r>
            <a:r>
              <a:t>, </a:t>
            </a:r>
            <a:r>
              <a:rPr err="1"/>
              <a:t>deviennent</a:t>
            </a:r>
            <a:r>
              <a:t> des </a:t>
            </a:r>
            <a:r>
              <a:rPr err="1"/>
              <a:t>apprenants</a:t>
            </a:r>
            <a:r>
              <a:t> </a:t>
            </a:r>
            <a:r>
              <a:rPr err="1"/>
              <a:t>capables</a:t>
            </a:r>
            <a:r>
              <a:t> et se </a:t>
            </a:r>
            <a:r>
              <a:rPr err="1"/>
              <a:t>préparent</a:t>
            </a:r>
            <a:r>
              <a:t> à </a:t>
            </a:r>
            <a:r>
              <a:rPr err="1"/>
              <a:t>diriger</a:t>
            </a:r>
            <a:r>
              <a:t> et à </a:t>
            </a:r>
            <a:r>
              <a:rPr err="1"/>
              <a:t>soutenir</a:t>
            </a:r>
            <a:r>
              <a:t> </a:t>
            </a:r>
            <a:r>
              <a:rPr err="1"/>
              <a:t>leur</a:t>
            </a:r>
            <a:r>
              <a:t> </a:t>
            </a:r>
            <a:r>
              <a:rPr err="1"/>
              <a:t>famille</a:t>
            </a:r>
            <a:r>
              <a:t>.  </a:t>
            </a:r>
            <a:endParaRPr>
              <a:cs typeface="Calibri"/>
            </a:endParaRPr>
          </a:p>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1</a:t>
            </a:fld>
            <a:endParaRPr lang="en-US"/>
          </a:p>
        </p:txBody>
      </p:sp>
    </p:spTree>
    <p:extLst>
      <p:ext uri="{BB962C8B-B14F-4D97-AF65-F5344CB8AC3E}">
        <p14:creationId xmlns:p14="http://schemas.microsoft.com/office/powerpoint/2010/main" val="16828481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2</a:t>
            </a:fld>
            <a:endParaRPr lang="en-US"/>
          </a:p>
        </p:txBody>
      </p:sp>
    </p:spTree>
    <p:extLst>
      <p:ext uri="{BB962C8B-B14F-4D97-AF65-F5344CB8AC3E}">
        <p14:creationId xmlns:p14="http://schemas.microsoft.com/office/powerpoint/2010/main" val="37291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4</a:t>
            </a:fld>
            <a:endParaRPr lang="en-US"/>
          </a:p>
        </p:txBody>
      </p:sp>
    </p:spTree>
    <p:extLst>
      <p:ext uri="{BB962C8B-B14F-4D97-AF65-F5344CB8AC3E}">
        <p14:creationId xmlns:p14="http://schemas.microsoft.com/office/powerpoint/2010/main" val="7379042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3</a:t>
            </a:fld>
            <a:endParaRPr lang="en-US"/>
          </a:p>
        </p:txBody>
      </p:sp>
    </p:spTree>
    <p:extLst>
      <p:ext uri="{BB962C8B-B14F-4D97-AF65-F5344CB8AC3E}">
        <p14:creationId xmlns:p14="http://schemas.microsoft.com/office/powerpoint/2010/main" val="23521339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34</a:t>
            </a:fld>
            <a:endParaRPr lang="en-US"/>
          </a:p>
        </p:txBody>
      </p:sp>
    </p:spTree>
    <p:extLst>
      <p:ext uri="{BB962C8B-B14F-4D97-AF65-F5344CB8AC3E}">
        <p14:creationId xmlns:p14="http://schemas.microsoft.com/office/powerpoint/2010/main" val="18965840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35</a:t>
            </a:fld>
            <a:endParaRPr lang="en-US"/>
          </a:p>
        </p:txBody>
      </p:sp>
    </p:spTree>
    <p:extLst>
      <p:ext uri="{BB962C8B-B14F-4D97-AF65-F5344CB8AC3E}">
        <p14:creationId xmlns:p14="http://schemas.microsoft.com/office/powerpoint/2010/main" val="12400232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640BCA-202F-3B49-8F50-ED6A5FE587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4321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640BCA-202F-3B49-8F50-ED6A5FE587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7455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r>
              <a:rPr sz="1200"/>
              <a:t>Les </a:t>
            </a:r>
            <a:r>
              <a:rPr sz="1200" err="1"/>
              <a:t>certificats</a:t>
            </a:r>
            <a:r>
              <a:rPr sz="1200"/>
              <a:t> </a:t>
            </a:r>
            <a:r>
              <a:rPr sz="1200" err="1"/>
              <a:t>enseignent</a:t>
            </a:r>
            <a:r>
              <a:rPr sz="1200"/>
              <a:t> des </a:t>
            </a:r>
            <a:r>
              <a:rPr sz="1200" err="1"/>
              <a:t>compétences</a:t>
            </a:r>
            <a:r>
              <a:rPr sz="1200"/>
              <a:t> </a:t>
            </a:r>
            <a:r>
              <a:rPr sz="1200" err="1"/>
              <a:t>professionnelles</a:t>
            </a:r>
            <a:r>
              <a:rPr lang="en-US"/>
              <a:t> et</a:t>
            </a:r>
            <a:r>
              <a:rPr sz="1200"/>
              <a:t> </a:t>
            </a:r>
            <a:r>
              <a:rPr sz="1200" err="1"/>
              <a:t>commercialisables</a:t>
            </a:r>
            <a:r>
              <a:rPr sz="1200"/>
              <a:t> qui </a:t>
            </a:r>
            <a:r>
              <a:rPr sz="1200" err="1"/>
              <a:t>peuvent</a:t>
            </a:r>
            <a:r>
              <a:rPr sz="1200"/>
              <a:t> </a:t>
            </a:r>
            <a:r>
              <a:rPr sz="1200" err="1"/>
              <a:t>améliorer</a:t>
            </a:r>
            <a:r>
              <a:rPr sz="1200"/>
              <a:t> </a:t>
            </a:r>
            <a:r>
              <a:rPr sz="1200" err="1"/>
              <a:t>l’emploi</a:t>
            </a:r>
            <a:r>
              <a:rPr sz="1200"/>
              <a:t>.</a:t>
            </a:r>
            <a:r>
              <a:t> </a:t>
            </a:r>
            <a:endParaRPr lang="en-US" sz="1200"/>
          </a:p>
          <a:p>
            <a:pPr>
              <a:lnSpc>
                <a:spcPct val="110000"/>
              </a:lnSpc>
            </a:pPr>
            <a:endParaRPr lang="en-US" sz="1200"/>
          </a:p>
          <a:p>
            <a:pPr>
              <a:lnSpc>
                <a:spcPct val="110000"/>
              </a:lnSpc>
            </a:pPr>
            <a:r>
              <a:rPr sz="1200"/>
              <a:t>Les </a:t>
            </a:r>
            <a:r>
              <a:rPr sz="1200" err="1"/>
              <a:t>certificats</a:t>
            </a:r>
            <a:r>
              <a:rPr sz="1200"/>
              <a:t> </a:t>
            </a:r>
            <a:r>
              <a:rPr sz="1200" err="1"/>
              <a:t>sont</a:t>
            </a:r>
            <a:r>
              <a:rPr sz="1200"/>
              <a:t> </a:t>
            </a:r>
            <a:r>
              <a:rPr err="1"/>
              <a:t>généralement</a:t>
            </a:r>
            <a:r>
              <a:rPr sz="1200"/>
              <a:t> </a:t>
            </a:r>
            <a:r>
              <a:rPr sz="1200" err="1"/>
              <a:t>composés</a:t>
            </a:r>
            <a:r>
              <a:rPr sz="1200"/>
              <a:t> </a:t>
            </a:r>
            <a:r>
              <a:t>de 5</a:t>
            </a:r>
            <a:r>
              <a:rPr sz="1200"/>
              <a:t> à 6 </a:t>
            </a:r>
            <a:r>
              <a:rPr sz="1200" err="1"/>
              <a:t>cours</a:t>
            </a:r>
            <a:r>
              <a:rPr sz="1200"/>
              <a:t>, et </a:t>
            </a:r>
            <a:r>
              <a:rPr sz="1200" err="1"/>
              <a:t>chaque</a:t>
            </a:r>
            <a:r>
              <a:rPr sz="1200"/>
              <a:t> </a:t>
            </a:r>
            <a:r>
              <a:rPr sz="1200" err="1"/>
              <a:t>certificat</a:t>
            </a:r>
            <a:r>
              <a:rPr sz="1200"/>
              <a:t> </a:t>
            </a:r>
            <a:r>
              <a:rPr sz="1200" b="1" err="1">
                <a:solidFill>
                  <a:srgbClr val="3A929D"/>
                </a:solidFill>
              </a:rPr>
              <a:t>peut</a:t>
            </a:r>
            <a:r>
              <a:rPr sz="1200" b="1">
                <a:solidFill>
                  <a:srgbClr val="3A929D"/>
                </a:solidFill>
              </a:rPr>
              <a:t> </a:t>
            </a:r>
            <a:r>
              <a:rPr sz="1200" b="1" err="1">
                <a:solidFill>
                  <a:srgbClr val="3A929D"/>
                </a:solidFill>
              </a:rPr>
              <a:t>être</a:t>
            </a:r>
            <a:r>
              <a:rPr sz="1200" b="1">
                <a:solidFill>
                  <a:srgbClr val="3A929D"/>
                </a:solidFill>
              </a:rPr>
              <a:t> </a:t>
            </a:r>
            <a:r>
              <a:rPr sz="1200" b="1" err="1">
                <a:solidFill>
                  <a:srgbClr val="3A929D"/>
                </a:solidFill>
              </a:rPr>
              <a:t>complété</a:t>
            </a:r>
            <a:r>
              <a:rPr sz="1200" b="1">
                <a:solidFill>
                  <a:srgbClr val="3A929D"/>
                </a:solidFill>
              </a:rPr>
              <a:t> </a:t>
            </a:r>
            <a:r>
              <a:rPr sz="1200" b="1" err="1">
                <a:solidFill>
                  <a:srgbClr val="3A929D"/>
                </a:solidFill>
              </a:rPr>
              <a:t>en</a:t>
            </a:r>
            <a:r>
              <a:rPr sz="1200" b="1">
                <a:solidFill>
                  <a:srgbClr val="3A929D"/>
                </a:solidFill>
              </a:rPr>
              <a:t> un an </a:t>
            </a:r>
            <a:r>
              <a:rPr sz="1200" b="1" err="1">
                <a:solidFill>
                  <a:srgbClr val="3A929D"/>
                </a:solidFill>
              </a:rPr>
              <a:t>ou</a:t>
            </a:r>
            <a:r>
              <a:rPr sz="1200" b="1">
                <a:solidFill>
                  <a:srgbClr val="3A929D"/>
                </a:solidFill>
              </a:rPr>
              <a:t> </a:t>
            </a:r>
            <a:r>
              <a:rPr sz="1200" b="1" err="1">
                <a:solidFill>
                  <a:srgbClr val="3A929D"/>
                </a:solidFill>
              </a:rPr>
              <a:t>moins</a:t>
            </a:r>
            <a:r>
              <a:rPr sz="1200"/>
              <a:t>.</a:t>
            </a:r>
            <a:endParaRPr lang="en-US">
              <a:ea typeface="Calibri"/>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5</a:t>
            </a:fld>
            <a:endParaRPr lang="en-US"/>
          </a:p>
        </p:txBody>
      </p:sp>
    </p:spTree>
    <p:extLst>
      <p:ext uri="{BB962C8B-B14F-4D97-AF65-F5344CB8AC3E}">
        <p14:creationId xmlns:p14="http://schemas.microsoft.com/office/powerpoint/2010/main" val="1421015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7</a:t>
            </a:fld>
            <a:endParaRPr lang="en-US"/>
          </a:p>
        </p:txBody>
      </p:sp>
    </p:spTree>
    <p:extLst>
      <p:ext uri="{BB962C8B-B14F-4D97-AF65-F5344CB8AC3E}">
        <p14:creationId xmlns:p14="http://schemas.microsoft.com/office/powerpoint/2010/main" val="1319553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8</a:t>
            </a:fld>
            <a:endParaRPr lang="en-US"/>
          </a:p>
        </p:txBody>
      </p:sp>
    </p:spTree>
    <p:extLst>
      <p:ext uri="{BB962C8B-B14F-4D97-AF65-F5344CB8AC3E}">
        <p14:creationId xmlns:p14="http://schemas.microsoft.com/office/powerpoint/2010/main" val="2775584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00" u="none" strike="noStrike">
              <a:effectLst/>
              <a:latin typeface="+mj-lt"/>
              <a:ea typeface="Arial" panose="020B0604020202020204" pitchFamily="34" charset="0"/>
            </a:endParaRPr>
          </a:p>
        </p:txBody>
      </p:sp>
      <p:sp>
        <p:nvSpPr>
          <p:cNvPr id="4" name="Slide Number Placeholder 3"/>
          <p:cNvSpPr>
            <a:spLocks noGrp="1"/>
          </p:cNvSpPr>
          <p:nvPr>
            <p:ph type="sldNum" sz="quarter" idx="5"/>
          </p:nvPr>
        </p:nvSpPr>
        <p:spPr/>
        <p:txBody>
          <a:bodyPr/>
          <a:lstStyle/>
          <a:p>
            <a:fld id="{A423D855-7AB7-AC46-905D-9613FF3E6A59}" type="slidenum">
              <a:rPr lang="en-US" smtClean="0"/>
              <a:t>10</a:t>
            </a:fld>
            <a:endParaRPr lang="en-US"/>
          </a:p>
        </p:txBody>
      </p:sp>
    </p:spTree>
    <p:extLst>
      <p:ext uri="{BB962C8B-B14F-4D97-AF65-F5344CB8AC3E}">
        <p14:creationId xmlns:p14="http://schemas.microsoft.com/office/powerpoint/2010/main" val="1155795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b="1"/>
            </a:pPr>
            <a:r>
              <a:t>Jonathon </a:t>
            </a:r>
            <a:r>
              <a:rPr err="1">
                <a:solidFill>
                  <a:srgbClr val="000000"/>
                </a:solidFill>
              </a:rPr>
              <a:t>Ordillas</a:t>
            </a:r>
            <a:endParaRPr lang="en-US" err="1">
              <a:solidFill>
                <a:srgbClr val="000000"/>
              </a:solidFill>
              <a:cs typeface="Calibri"/>
            </a:endParaRPr>
          </a:p>
          <a:p>
            <a:pPr marL="285750" indent="-285750">
              <a:buFont typeface="Calibri"/>
              <a:buChar char="-"/>
            </a:pPr>
            <a:r>
              <a:rPr>
                <a:latin typeface="Calibri Light"/>
                <a:cs typeface="Calibri Light"/>
              </a:rPr>
              <a:t>Vit</a:t>
            </a:r>
            <a:r>
              <a:rPr sz="1200">
                <a:effectLst/>
                <a:latin typeface="+mj-lt"/>
                <a:ea typeface="Arial" panose="020B0604020202020204" pitchFamily="34" charset="0"/>
              </a:rPr>
              <a:t> aux Philippines</a:t>
            </a:r>
            <a:endParaRPr lang="en-US" sz="1200">
              <a:latin typeface="+mj-lt"/>
              <a:ea typeface="Arial" panose="020B0604020202020204" pitchFamily="34" charset="0"/>
              <a:cs typeface="Calibri Light"/>
            </a:endParaRPr>
          </a:p>
          <a:p>
            <a:pPr marL="285750" indent="-285750">
              <a:lnSpc>
                <a:spcPct val="115000"/>
              </a:lnSpc>
              <a:buFont typeface="Calibri"/>
              <a:buChar char="-"/>
              <a:defRPr sz="1200">
                <a:effectLst/>
                <a:latin typeface="+mj-lt"/>
                <a:ea typeface="Arial" panose="020B0604020202020204" pitchFamily="34" charset="0"/>
              </a:defRPr>
            </a:pPr>
            <a:r>
              <a:rPr lang="en-US"/>
              <a:t>Á</a:t>
            </a:r>
            <a:r>
              <a:t> </a:t>
            </a:r>
            <a:r>
              <a:rPr lang="en-US"/>
              <a:t>son retour de </a:t>
            </a:r>
            <a:r>
              <a:rPr lang="en-US" err="1"/>
              <a:t>sa</a:t>
            </a:r>
            <a:r>
              <a:t> mission</a:t>
            </a:r>
            <a:r>
              <a:rPr lang="en-US"/>
              <a:t>,</a:t>
            </a:r>
            <a:r>
              <a:t> </a:t>
            </a:r>
            <a:r>
              <a:rPr lang="en-US" err="1"/>
              <a:t>découvert</a:t>
            </a:r>
            <a:r>
              <a:rPr lang="en-US"/>
              <a:t> que </a:t>
            </a:r>
            <a:r>
              <a:t>son </a:t>
            </a:r>
            <a:r>
              <a:rPr err="1"/>
              <a:t>père</a:t>
            </a:r>
            <a:r>
              <a:t> </a:t>
            </a:r>
            <a:r>
              <a:rPr err="1"/>
              <a:t>avait</a:t>
            </a:r>
            <a:r>
              <a:t> perdu son </a:t>
            </a:r>
            <a:r>
              <a:rPr err="1"/>
              <a:t>emploi</a:t>
            </a:r>
            <a:r>
              <a:t> et </a:t>
            </a:r>
            <a:r>
              <a:rPr err="1"/>
              <a:t>sa</a:t>
            </a:r>
            <a:r>
              <a:t> </a:t>
            </a:r>
            <a:r>
              <a:rPr err="1"/>
              <a:t>famille</a:t>
            </a:r>
            <a:r>
              <a:t> </a:t>
            </a:r>
            <a:r>
              <a:rPr err="1"/>
              <a:t>était</a:t>
            </a:r>
            <a:r>
              <a:t> aux </a:t>
            </a:r>
            <a:r>
              <a:rPr err="1"/>
              <a:t>prises</a:t>
            </a:r>
            <a:r>
              <a:t> avec des </a:t>
            </a:r>
            <a:r>
              <a:rPr err="1"/>
              <a:t>dettes</a:t>
            </a:r>
            <a:endParaRPr lang="en-US" sz="1200" u="none" strike="noStrike" err="1">
              <a:effectLst/>
              <a:latin typeface="+mj-lt"/>
              <a:ea typeface="Arial" panose="020B0604020202020204" pitchFamily="34" charset="0"/>
              <a:cs typeface="Calibri Light"/>
            </a:endParaRPr>
          </a:p>
          <a:p>
            <a:pPr marL="285750" indent="-285750">
              <a:lnSpc>
                <a:spcPct val="115000"/>
              </a:lnSpc>
              <a:buFont typeface="Calibri"/>
              <a:buChar char="-"/>
              <a:defRPr>
                <a:latin typeface="+mj-lt"/>
                <a:ea typeface="Arial" panose="020B0604020202020204" pitchFamily="34" charset="0"/>
              </a:defRPr>
            </a:pPr>
            <a:r>
              <a:rPr sz="1200" err="1"/>
              <a:t>Inscrit</a:t>
            </a:r>
            <a:r>
              <a:rPr sz="1200"/>
              <a:t> à BYU-Pathway et a </a:t>
            </a:r>
            <a:r>
              <a:rPr sz="1200" err="1"/>
              <a:t>commencé</a:t>
            </a:r>
            <a:r>
              <a:rPr sz="1200"/>
              <a:t> à </a:t>
            </a:r>
            <a:r>
              <a:rPr err="1"/>
              <a:t>poursuivre</a:t>
            </a:r>
            <a:r>
              <a:rPr sz="1200"/>
              <a:t> des études </a:t>
            </a:r>
            <a:r>
              <a:rPr sz="1200" err="1"/>
              <a:t>en</a:t>
            </a:r>
            <a:r>
              <a:rPr lang="en-US"/>
              <a:t> </a:t>
            </a:r>
            <a:r>
              <a:rPr lang="en-US" err="1"/>
              <a:t>informatique</a:t>
            </a:r>
            <a:r>
              <a:rPr lang="en-US"/>
              <a:t> </a:t>
            </a:r>
            <a:endParaRPr lang="en-US" sz="1200">
              <a:latin typeface="+mj-lt"/>
              <a:ea typeface="Arial" panose="020B0604020202020204" pitchFamily="34" charset="0"/>
              <a:cs typeface="Calibri Light"/>
            </a:endParaRPr>
          </a:p>
          <a:p>
            <a:pPr marL="285750" indent="-285750">
              <a:lnSpc>
                <a:spcPct val="115000"/>
              </a:lnSpc>
              <a:buFont typeface="Calibri"/>
              <a:buChar char="-"/>
              <a:defRPr sz="1200">
                <a:effectLst/>
                <a:latin typeface="+mj-lt"/>
                <a:ea typeface="Arial" panose="020B0604020202020204" pitchFamily="34" charset="0"/>
              </a:defRPr>
            </a:pPr>
            <a:r>
              <a:t>A </a:t>
            </a:r>
            <a:r>
              <a:rPr err="1"/>
              <a:t>obtenu</a:t>
            </a:r>
            <a:r>
              <a:t> un poste </a:t>
            </a:r>
            <a:r>
              <a:rPr err="1"/>
              <a:t>d’étude</a:t>
            </a:r>
            <a:r>
              <a:t> de </a:t>
            </a:r>
            <a:r>
              <a:rPr err="1"/>
              <a:t>marché</a:t>
            </a:r>
            <a:r>
              <a:t> chez Clear Insights grâce à </a:t>
            </a:r>
            <a:r>
              <a:rPr err="1"/>
              <a:t>sa</a:t>
            </a:r>
            <a:r>
              <a:t> </a:t>
            </a:r>
            <a:r>
              <a:rPr err="1"/>
              <a:t>connexion</a:t>
            </a:r>
            <a:r>
              <a:t> avec BYU-Pathway</a:t>
            </a:r>
            <a:endParaRPr lang="en-US" sz="1200" u="none" strike="noStrike">
              <a:effectLst/>
              <a:latin typeface="+mj-lt"/>
              <a:ea typeface="Arial" panose="020B0604020202020204" pitchFamily="34" charset="0"/>
              <a:cs typeface="Calibri Light"/>
            </a:endParaRPr>
          </a:p>
          <a:p>
            <a:pPr marL="285750" indent="-285750">
              <a:lnSpc>
                <a:spcPct val="115000"/>
              </a:lnSpc>
              <a:buFont typeface="Calibri"/>
              <a:buChar char="-"/>
              <a:defRPr sz="1200">
                <a:latin typeface="+mj-lt"/>
                <a:ea typeface="Arial" panose="020B0604020202020204" pitchFamily="34" charset="0"/>
              </a:defRPr>
            </a:pPr>
            <a:r>
              <a:rPr err="1"/>
              <a:t>Gagnant</a:t>
            </a:r>
            <a:r>
              <a:t> </a:t>
            </a:r>
            <a:r>
              <a:rPr err="1"/>
              <a:t>maintenant</a:t>
            </a:r>
            <a:r>
              <a:t> le triple du </a:t>
            </a:r>
            <a:r>
              <a:rPr err="1"/>
              <a:t>salaire</a:t>
            </a:r>
            <a:r>
              <a:t> minimum aux Philippines</a:t>
            </a:r>
            <a:endParaRPr lang="en-US" sz="1200" u="none" strike="noStrike">
              <a:effectLst/>
              <a:latin typeface="+mj-lt"/>
              <a:ea typeface="Arial" panose="020B0604020202020204" pitchFamily="34" charset="0"/>
              <a:cs typeface="Calibri Light"/>
            </a:endParaRPr>
          </a:p>
          <a:p>
            <a:pPr marL="285750" indent="-285750">
              <a:lnSpc>
                <a:spcPct val="115000"/>
              </a:lnSpc>
              <a:buFont typeface="Calibri"/>
              <a:buChar char="-"/>
              <a:defRPr>
                <a:latin typeface="+mj-lt"/>
                <a:ea typeface="Arial" panose="020B0604020202020204" pitchFamily="34" charset="0"/>
              </a:defRPr>
            </a:pPr>
            <a:r>
              <a:rPr sz="1200"/>
              <a:t>À </a:t>
            </a:r>
            <a:r>
              <a:rPr sz="1200" err="1"/>
              <a:t>quelques</a:t>
            </a:r>
            <a:r>
              <a:rPr sz="1200"/>
              <a:t> </a:t>
            </a:r>
            <a:r>
              <a:rPr sz="1200" err="1"/>
              <a:t>mois</a:t>
            </a:r>
            <a:r>
              <a:rPr sz="1200"/>
              <a:t> de terminer son premier </a:t>
            </a:r>
            <a:r>
              <a:rPr sz="1200" err="1"/>
              <a:t>certificat</a:t>
            </a:r>
            <a:r>
              <a:rPr sz="1200"/>
              <a:t> </a:t>
            </a:r>
            <a:r>
              <a:rPr sz="1200" err="1"/>
              <a:t>en</a:t>
            </a:r>
            <a:r>
              <a:rPr sz="1200"/>
              <a:t> tant </a:t>
            </a:r>
            <a:r>
              <a:rPr sz="1200" err="1"/>
              <a:t>qu’ingénieur</a:t>
            </a:r>
            <a:r>
              <a:rPr sz="1200"/>
              <a:t> </a:t>
            </a:r>
            <a:r>
              <a:t>du support</a:t>
            </a:r>
            <a:r>
              <a:rPr sz="1200"/>
              <a:t> </a:t>
            </a:r>
            <a:r>
              <a:t>technique</a:t>
            </a:r>
            <a:r>
              <a:rPr lang="en-US"/>
              <a:t> </a:t>
            </a:r>
            <a:endParaRPr lang="en-US" sz="1200" u="none" strike="noStrike">
              <a:effectLst/>
              <a:latin typeface="+mj-lt"/>
              <a:ea typeface="Arial" panose="020B0604020202020204" pitchFamily="34" charset="0"/>
              <a:cs typeface="Calibri Light"/>
            </a:endParaRPr>
          </a:p>
          <a:p>
            <a:endParaRPr lang="en-US"/>
          </a:p>
        </p:txBody>
      </p:sp>
      <p:sp>
        <p:nvSpPr>
          <p:cNvPr id="4" name="Slide Number Placeholder 3"/>
          <p:cNvSpPr>
            <a:spLocks noGrp="1"/>
          </p:cNvSpPr>
          <p:nvPr>
            <p:ph type="sldNum" sz="quarter" idx="5"/>
          </p:nvPr>
        </p:nvSpPr>
        <p:spPr/>
        <p:txBody>
          <a:bodyPr/>
          <a:lstStyle/>
          <a:p>
            <a:fld id="{BF15BBEC-FCFA-104A-A502-D7EB7C34468A}" type="slidenum">
              <a:rPr lang="en-US" smtClean="0"/>
              <a:t>11</a:t>
            </a:fld>
            <a:endParaRPr lang="en-US"/>
          </a:p>
        </p:txBody>
      </p:sp>
    </p:spTree>
    <p:extLst>
      <p:ext uri="{BB962C8B-B14F-4D97-AF65-F5344CB8AC3E}">
        <p14:creationId xmlns:p14="http://schemas.microsoft.com/office/powerpoint/2010/main" val="1929790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b="1"/>
            </a:pPr>
            <a:r>
              <a:t>Chris Blount</a:t>
            </a:r>
            <a:endParaRPr lang="en-US"/>
          </a:p>
          <a:p>
            <a:pPr marL="171450" indent="-171450">
              <a:buFont typeface="Calibri"/>
              <a:buChar char="-"/>
              <a:defRPr>
                <a:solidFill>
                  <a:srgbClr val="2D2D2D"/>
                </a:solidFill>
                <a:latin typeface="Arvo"/>
              </a:defRPr>
            </a:pPr>
            <a:r>
              <a:t>De Floride, </a:t>
            </a:r>
            <a:r>
              <a:rPr err="1"/>
              <a:t>États</a:t>
            </a:r>
            <a:r>
              <a:t>-Unis</a:t>
            </a:r>
          </a:p>
          <a:p>
            <a:pPr marL="171450" indent="-171450">
              <a:buFont typeface="Calibri"/>
              <a:buChar char="-"/>
              <a:defRPr>
                <a:solidFill>
                  <a:srgbClr val="2D2D2D"/>
                </a:solidFill>
                <a:latin typeface="Arvo"/>
              </a:defRPr>
            </a:pPr>
            <a:r>
              <a:rPr err="1">
                <a:effectLst/>
              </a:rPr>
              <a:t>Lorsqu’il</a:t>
            </a:r>
            <a:r>
              <a:rPr>
                <a:effectLst/>
              </a:rPr>
              <a:t> </a:t>
            </a:r>
            <a:r>
              <a:rPr err="1">
                <a:effectLst/>
              </a:rPr>
              <a:t>était</a:t>
            </a:r>
            <a:r>
              <a:rPr>
                <a:effectLst/>
              </a:rPr>
              <a:t> dans </a:t>
            </a:r>
            <a:r>
              <a:rPr lang="en-US"/>
              <a:t>les</a:t>
            </a:r>
            <a:r>
              <a:rPr>
                <a:effectLst/>
              </a:rPr>
              <a:t> </a:t>
            </a:r>
            <a:r>
              <a:rPr lang="en-US"/>
              <a:t>marines</a:t>
            </a:r>
            <a:r>
              <a:rPr>
                <a:effectLst/>
              </a:rPr>
              <a:t> </a:t>
            </a:r>
            <a:r>
              <a:rPr lang="en-US" err="1"/>
              <a:t>américains</a:t>
            </a:r>
            <a:r>
              <a:rPr>
                <a:effectLst/>
              </a:rPr>
              <a:t>, Chris a </a:t>
            </a:r>
            <a:r>
              <a:rPr err="1">
                <a:effectLst/>
              </a:rPr>
              <a:t>commencé</a:t>
            </a:r>
            <a:r>
              <a:rPr>
                <a:effectLst/>
              </a:rPr>
              <a:t> à </a:t>
            </a:r>
            <a:r>
              <a:rPr err="1">
                <a:effectLst/>
              </a:rPr>
              <a:t>poursuivre</a:t>
            </a:r>
            <a:r>
              <a:rPr>
                <a:effectLst/>
              </a:rPr>
              <a:t> des études </a:t>
            </a:r>
            <a:r>
              <a:rPr err="1">
                <a:effectLst/>
              </a:rPr>
              <a:t>universitaires</a:t>
            </a:r>
            <a:r>
              <a:rPr>
                <a:effectLst/>
              </a:rPr>
              <a:t> </a:t>
            </a:r>
            <a:r>
              <a:rPr err="1">
                <a:effectLst/>
              </a:rPr>
              <a:t>en</a:t>
            </a:r>
            <a:r>
              <a:rPr>
                <a:effectLst/>
              </a:rPr>
              <a:t> </a:t>
            </a:r>
            <a:r>
              <a:t>commerce international </a:t>
            </a:r>
            <a:r>
              <a:rPr err="1"/>
              <a:t>afin</a:t>
            </a:r>
            <a:r>
              <a:rPr>
                <a:effectLst/>
              </a:rPr>
              <a:t> de </a:t>
            </a:r>
            <a:r>
              <a:rPr err="1">
                <a:effectLst/>
              </a:rPr>
              <a:t>devenir</a:t>
            </a:r>
            <a:r>
              <a:rPr>
                <a:effectLst/>
              </a:rPr>
              <a:t> </a:t>
            </a:r>
            <a:r>
              <a:rPr err="1">
                <a:effectLst/>
              </a:rPr>
              <a:t>officier</a:t>
            </a:r>
            <a:r>
              <a:t>, </a:t>
            </a:r>
            <a:r>
              <a:rPr err="1"/>
              <a:t>mais</a:t>
            </a:r>
            <a:r>
              <a:t> </a:t>
            </a:r>
            <a:r>
              <a:rPr err="1">
                <a:effectLst/>
              </a:rPr>
              <a:t>ce</a:t>
            </a:r>
            <a:r>
              <a:rPr>
                <a:effectLst/>
              </a:rPr>
              <a:t> </a:t>
            </a:r>
            <a:r>
              <a:rPr err="1">
                <a:effectLst/>
              </a:rPr>
              <a:t>n’était</a:t>
            </a:r>
            <a:r>
              <a:rPr>
                <a:effectLst/>
              </a:rPr>
              <a:t> pas son </a:t>
            </a:r>
            <a:r>
              <a:rPr err="1">
                <a:effectLst/>
              </a:rPr>
              <a:t>véritable</a:t>
            </a:r>
            <a:r>
              <a:rPr>
                <a:effectLst/>
              </a:rPr>
              <a:t> </a:t>
            </a:r>
            <a:r>
              <a:rPr err="1">
                <a:effectLst/>
              </a:rPr>
              <a:t>intérêt</a:t>
            </a:r>
            <a:r>
              <a:rPr>
                <a:effectLst/>
              </a:rPr>
              <a:t>.</a:t>
            </a:r>
            <a:r>
              <a:t> </a:t>
            </a:r>
            <a:endParaRPr lang="en-US">
              <a:solidFill>
                <a:srgbClr val="000000"/>
              </a:solidFill>
              <a:latin typeface="Calibri" panose="020F0502020204030204"/>
              <a:cs typeface="Calibri"/>
            </a:endParaRPr>
          </a:p>
          <a:p>
            <a:pPr marL="171450" indent="-171450">
              <a:buFont typeface="Calibri"/>
              <a:buChar char="-"/>
              <a:defRPr>
                <a:solidFill>
                  <a:srgbClr val="2D2D2D"/>
                </a:solidFill>
                <a:latin typeface="Arvo"/>
              </a:defRPr>
            </a:pPr>
            <a:r>
              <a:t>« </a:t>
            </a:r>
            <a:r>
              <a:rPr>
                <a:effectLst/>
              </a:rPr>
              <a:t>Je ne </a:t>
            </a:r>
            <a:r>
              <a:rPr err="1">
                <a:effectLst/>
              </a:rPr>
              <a:t>prenais</a:t>
            </a:r>
            <a:r>
              <a:rPr>
                <a:effectLst/>
              </a:rPr>
              <a:t> pas </a:t>
            </a:r>
            <a:r>
              <a:rPr err="1">
                <a:effectLst/>
              </a:rPr>
              <a:t>l’école</a:t>
            </a:r>
            <a:r>
              <a:rPr>
                <a:effectLst/>
              </a:rPr>
              <a:t> trop au </a:t>
            </a:r>
            <a:r>
              <a:rPr err="1">
                <a:effectLst/>
              </a:rPr>
              <a:t>sérieux</a:t>
            </a:r>
            <a:r>
              <a:rPr>
                <a:effectLst/>
              </a:rPr>
              <a:t>, </a:t>
            </a:r>
            <a:r>
              <a:rPr err="1">
                <a:effectLst/>
              </a:rPr>
              <a:t>parce</a:t>
            </a:r>
            <a:r>
              <a:rPr>
                <a:effectLst/>
              </a:rPr>
              <a:t> que je </a:t>
            </a:r>
            <a:r>
              <a:rPr err="1">
                <a:effectLst/>
              </a:rPr>
              <a:t>n’étudiais</a:t>
            </a:r>
            <a:r>
              <a:rPr>
                <a:effectLst/>
              </a:rPr>
              <a:t> </a:t>
            </a:r>
            <a:r>
              <a:rPr err="1">
                <a:effectLst/>
              </a:rPr>
              <a:t>rien</a:t>
            </a:r>
            <a:r>
              <a:rPr>
                <a:effectLst/>
              </a:rPr>
              <a:t> qui me </a:t>
            </a:r>
            <a:r>
              <a:rPr err="1">
                <a:effectLst/>
              </a:rPr>
              <a:t>passionnait</a:t>
            </a:r>
            <a:r>
              <a:t>. »09</a:t>
            </a:r>
            <a:endParaRPr lang="en-US">
              <a:solidFill>
                <a:srgbClr val="000000"/>
              </a:solidFill>
              <a:latin typeface="Calibri" panose="020F0502020204030204"/>
              <a:cs typeface="Calibri"/>
            </a:endParaRPr>
          </a:p>
          <a:p>
            <a:pPr marL="171450" indent="-171450">
              <a:buFont typeface="Calibri"/>
              <a:buChar char="-"/>
              <a:defRPr>
                <a:solidFill>
                  <a:srgbClr val="2D2D2D"/>
                </a:solidFill>
                <a:effectLst/>
                <a:latin typeface="Arvo"/>
              </a:defRPr>
            </a:pPr>
            <a:r>
              <a:rPr err="1"/>
              <a:t>Lorsque</a:t>
            </a:r>
            <a:r>
              <a:t> Chris a perdu son </a:t>
            </a:r>
            <a:r>
              <a:rPr err="1"/>
              <a:t>emploi</a:t>
            </a:r>
            <a:r>
              <a:t> </a:t>
            </a:r>
            <a:r>
              <a:rPr err="1"/>
              <a:t>en</a:t>
            </a:r>
            <a:r>
              <a:t> 2018, il a </a:t>
            </a:r>
            <a:r>
              <a:rPr err="1"/>
              <a:t>eu</a:t>
            </a:r>
            <a:r>
              <a:t> </a:t>
            </a:r>
            <a:r>
              <a:rPr err="1"/>
              <a:t>l’occasion</a:t>
            </a:r>
            <a:r>
              <a:t> </a:t>
            </a:r>
            <a:r>
              <a:rPr err="1"/>
              <a:t>d’explorer</a:t>
            </a:r>
            <a:r>
              <a:t> de </a:t>
            </a:r>
            <a:r>
              <a:rPr err="1"/>
              <a:t>nouvelles</a:t>
            </a:r>
            <a:r>
              <a:t> options, y </a:t>
            </a:r>
            <a:r>
              <a:rPr err="1"/>
              <a:t>compris</a:t>
            </a:r>
            <a:r>
              <a:t> le </a:t>
            </a:r>
            <a:r>
              <a:rPr err="1"/>
              <a:t>développement</a:t>
            </a:r>
            <a:r>
              <a:t> Web.</a:t>
            </a:r>
            <a:endParaRPr lang="en-US">
              <a:solidFill>
                <a:srgbClr val="000000"/>
              </a:solidFill>
              <a:latin typeface="Calibri" panose="020F0502020204030204"/>
              <a:cs typeface="Calibri"/>
            </a:endParaRPr>
          </a:p>
          <a:p>
            <a:pPr marL="171450" indent="-171450">
              <a:buFont typeface="Calibri"/>
              <a:buChar char="-"/>
              <a:defRPr>
                <a:solidFill>
                  <a:srgbClr val="2D2D2D"/>
                </a:solidFill>
                <a:effectLst/>
                <a:latin typeface="Arvo"/>
              </a:defRPr>
            </a:pPr>
            <a:r>
              <a:t>Un </a:t>
            </a:r>
            <a:r>
              <a:rPr err="1"/>
              <a:t>dépliant</a:t>
            </a:r>
            <a:r>
              <a:t> sur un tableau </a:t>
            </a:r>
            <a:r>
              <a:rPr err="1"/>
              <a:t>d’affichage</a:t>
            </a:r>
            <a:r>
              <a:t> de son </a:t>
            </a:r>
            <a:r>
              <a:rPr err="1"/>
              <a:t>église</a:t>
            </a:r>
            <a:r>
              <a:t> </a:t>
            </a:r>
            <a:r>
              <a:rPr err="1"/>
              <a:t>lui</a:t>
            </a:r>
            <a:r>
              <a:t> a </a:t>
            </a:r>
            <a:r>
              <a:rPr err="1"/>
              <a:t>présenté</a:t>
            </a:r>
            <a:r>
              <a:t> BYU-Pathway, et son chemin </a:t>
            </a:r>
            <a:r>
              <a:rPr err="1"/>
              <a:t>vers</a:t>
            </a:r>
            <a:r>
              <a:t> </a:t>
            </a:r>
            <a:r>
              <a:rPr err="1"/>
              <a:t>une</a:t>
            </a:r>
            <a:r>
              <a:t> nouvelle </a:t>
            </a:r>
            <a:r>
              <a:rPr err="1"/>
              <a:t>carrière</a:t>
            </a:r>
            <a:r>
              <a:t> a </a:t>
            </a:r>
            <a:r>
              <a:rPr err="1"/>
              <a:t>été</a:t>
            </a:r>
            <a:r>
              <a:t> </a:t>
            </a:r>
            <a:r>
              <a:rPr err="1"/>
              <a:t>lancé</a:t>
            </a:r>
            <a:r>
              <a:t>.</a:t>
            </a:r>
            <a:endParaRPr lang="en-US">
              <a:solidFill>
                <a:srgbClr val="000000"/>
              </a:solidFill>
              <a:latin typeface="Calibri" panose="020F0502020204030204"/>
              <a:cs typeface="Calibri"/>
            </a:endParaRPr>
          </a:p>
          <a:p>
            <a:pPr marL="171450" indent="-171450">
              <a:buFont typeface="Calibri"/>
              <a:buChar char="-"/>
              <a:defRPr>
                <a:solidFill>
                  <a:srgbClr val="2D2D2D"/>
                </a:solidFill>
                <a:latin typeface="Arvo"/>
              </a:defRPr>
            </a:pPr>
            <a:r>
              <a:rPr>
                <a:effectLst/>
              </a:rPr>
              <a:t>Chris </a:t>
            </a:r>
            <a:r>
              <a:rPr err="1"/>
              <a:t>avait</a:t>
            </a:r>
            <a:r>
              <a:t> </a:t>
            </a:r>
            <a:r>
              <a:rPr err="1"/>
              <a:t>été</a:t>
            </a:r>
            <a:r>
              <a:t> </a:t>
            </a:r>
            <a:r>
              <a:rPr err="1"/>
              <a:t>baptisé</a:t>
            </a:r>
            <a:r>
              <a:t> </a:t>
            </a:r>
            <a:r>
              <a:rPr err="1"/>
              <a:t>membre</a:t>
            </a:r>
            <a:r>
              <a:t> de </a:t>
            </a:r>
            <a:r>
              <a:rPr err="1"/>
              <a:t>l’Église</a:t>
            </a:r>
            <a:r>
              <a:t> de</a:t>
            </a:r>
            <a:r>
              <a:rPr>
                <a:effectLst/>
              </a:rPr>
              <a:t> Jésus-Christ des Saints des Derniers Jours </a:t>
            </a:r>
            <a:r>
              <a:rPr err="1"/>
              <a:t>en</a:t>
            </a:r>
            <a:r>
              <a:rPr>
                <a:effectLst/>
              </a:rPr>
              <a:t> 2014, </a:t>
            </a:r>
            <a:r>
              <a:rPr err="1">
                <a:effectLst/>
              </a:rPr>
              <a:t>alors</a:t>
            </a:r>
            <a:r>
              <a:rPr>
                <a:effectLst/>
              </a:rPr>
              <a:t> </a:t>
            </a:r>
            <a:r>
              <a:rPr err="1">
                <a:effectLst/>
              </a:rPr>
              <a:t>sa</a:t>
            </a:r>
            <a:r>
              <a:rPr>
                <a:effectLst/>
              </a:rPr>
              <a:t> participation à </a:t>
            </a:r>
            <a:r>
              <a:rPr err="1">
                <a:effectLst/>
              </a:rPr>
              <a:t>l’institut</a:t>
            </a:r>
            <a:r>
              <a:rPr>
                <a:effectLst/>
              </a:rPr>
              <a:t> </a:t>
            </a:r>
            <a:r>
              <a:rPr err="1"/>
              <a:t>l’a</a:t>
            </a:r>
            <a:r>
              <a:t> </a:t>
            </a:r>
            <a:r>
              <a:rPr err="1"/>
              <a:t>aidé</a:t>
            </a:r>
            <a:r>
              <a:t> à </a:t>
            </a:r>
            <a:r>
              <a:rPr err="1"/>
              <a:t>apprendre</a:t>
            </a:r>
            <a:r>
              <a:t> beaucoup de choses sur </a:t>
            </a:r>
            <a:r>
              <a:rPr err="1"/>
              <a:t>l’Église</a:t>
            </a:r>
            <a:r>
              <a:t> et les </a:t>
            </a:r>
            <a:r>
              <a:rPr err="1"/>
              <a:t>Écritures</a:t>
            </a:r>
            <a:r>
              <a:t>.</a:t>
            </a:r>
            <a:endParaRPr lang="en-US">
              <a:cs typeface="Calibri"/>
            </a:endParaRPr>
          </a:p>
        </p:txBody>
      </p:sp>
      <p:sp>
        <p:nvSpPr>
          <p:cNvPr id="4" name="Slide Number Placeholder 3"/>
          <p:cNvSpPr>
            <a:spLocks noGrp="1"/>
          </p:cNvSpPr>
          <p:nvPr>
            <p:ph type="sldNum" sz="quarter" idx="5"/>
          </p:nvPr>
        </p:nvSpPr>
        <p:spPr/>
        <p:txBody>
          <a:bodyPr/>
          <a:lstStyle/>
          <a:p>
            <a:fld id="{BF15BBEC-FCFA-104A-A502-D7EB7C34468A}" type="slidenum">
              <a:rPr lang="en-US" smtClean="0"/>
              <a:t>12</a:t>
            </a:fld>
            <a:endParaRPr lang="en-US"/>
          </a:p>
        </p:txBody>
      </p:sp>
    </p:spTree>
    <p:extLst>
      <p:ext uri="{BB962C8B-B14F-4D97-AF65-F5344CB8AC3E}">
        <p14:creationId xmlns:p14="http://schemas.microsoft.com/office/powerpoint/2010/main" val="6512438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26.emf"/></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hoto / Small Quote (Gold)">
    <p:spTree>
      <p:nvGrpSpPr>
        <p:cNvPr id="1" name=""/>
        <p:cNvGrpSpPr/>
        <p:nvPr/>
      </p:nvGrpSpPr>
      <p:grpSpPr>
        <a:xfrm>
          <a:off x="0" y="0"/>
          <a:ext cx="0" cy="0"/>
          <a:chOff x="0" y="0"/>
          <a:chExt cx="0" cy="0"/>
        </a:xfrm>
      </p:grpSpPr>
      <p:sp>
        <p:nvSpPr>
          <p:cNvPr id="9" name="Rectangle 8"/>
          <p:cNvSpPr/>
          <p:nvPr userDrawn="1"/>
        </p:nvSpPr>
        <p:spPr>
          <a:xfrm>
            <a:off x="-134911" y="-89940"/>
            <a:ext cx="3097567" cy="70153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1529335" y="1422484"/>
            <a:ext cx="2866642" cy="401303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6" name="Text Placeholder 15"/>
          <p:cNvSpPr>
            <a:spLocks noGrp="1"/>
          </p:cNvSpPr>
          <p:nvPr>
            <p:ph type="body" sz="quarter" idx="13" hasCustomPrompt="1"/>
          </p:nvPr>
        </p:nvSpPr>
        <p:spPr>
          <a:xfrm>
            <a:off x="5321508" y="1422484"/>
            <a:ext cx="6206572" cy="3228343"/>
          </a:xfrm>
        </p:spPr>
        <p:txBody>
          <a:bodyPr anchor="ctr">
            <a:normAutofit/>
          </a:bodyPr>
          <a:lstStyle>
            <a:lvl1pPr marL="0" indent="0">
              <a:lnSpc>
                <a:spcPct val="100000"/>
              </a:lnSpc>
              <a:buNone/>
              <a:defRPr sz="2800">
                <a:latin typeface="+mj-lt"/>
              </a:defRPr>
            </a:lvl1pPr>
            <a:lvl2pPr marL="182880" indent="0">
              <a:spcBef>
                <a:spcPts val="3500"/>
              </a:spcBef>
              <a:buNone/>
              <a:defRPr i="1">
                <a:latin typeface="+mj-lt"/>
              </a:defRPr>
            </a:lvl2pPr>
          </a:lstStyle>
          <a:p>
            <a:pPr lvl="0"/>
            <a:r>
              <a:rPr lang="en-US"/>
              <a:t>“Quote.”</a:t>
            </a:r>
          </a:p>
        </p:txBody>
      </p:sp>
      <p:sp>
        <p:nvSpPr>
          <p:cNvPr id="4" name="Text Placeholder 3"/>
          <p:cNvSpPr>
            <a:spLocks noGrp="1"/>
          </p:cNvSpPr>
          <p:nvPr>
            <p:ph type="body" sz="quarter" idx="15" hasCustomPrompt="1"/>
          </p:nvPr>
        </p:nvSpPr>
        <p:spPr>
          <a:xfrm>
            <a:off x="5321300" y="4929352"/>
            <a:ext cx="6207125" cy="506248"/>
          </a:xfrm>
        </p:spPr>
        <p:txBody>
          <a:bodyPr>
            <a:normAutofit/>
          </a:bodyPr>
          <a:lstStyle>
            <a:lvl1pPr marL="4763" indent="0">
              <a:lnSpc>
                <a:spcPct val="100000"/>
              </a:lnSpc>
              <a:spcBef>
                <a:spcPts val="0"/>
              </a:spcBef>
              <a:buNone/>
              <a:tabLst/>
              <a:defRPr sz="1600" spc="100" baseline="0">
                <a:solidFill>
                  <a:schemeClr val="tx2">
                    <a:lumMod val="75000"/>
                    <a:lumOff val="25000"/>
                  </a:schemeClr>
                </a:solidFill>
                <a:latin typeface="+mj-lt"/>
              </a:defRPr>
            </a:lvl1pPr>
            <a:lvl2pPr marL="4763" indent="0">
              <a:lnSpc>
                <a:spcPct val="100000"/>
              </a:lnSpc>
              <a:spcBef>
                <a:spcPts val="0"/>
              </a:spcBef>
              <a:buNone/>
              <a:tabLst/>
              <a:defRPr sz="1600" i="1">
                <a:solidFill>
                  <a:schemeClr val="tx2">
                    <a:lumMod val="50000"/>
                    <a:lumOff val="50000"/>
                  </a:schemeClr>
                </a:solidFill>
                <a:latin typeface="+mj-lt"/>
              </a:defRPr>
            </a:lvl2pPr>
          </a:lstStyle>
          <a:p>
            <a:pPr lvl="0"/>
            <a:r>
              <a:rPr lang="en-US"/>
              <a:t>NAME</a:t>
            </a:r>
          </a:p>
          <a:p>
            <a:pPr lvl="1"/>
            <a:r>
              <a:rPr lang="en-US"/>
              <a:t>Attribution</a:t>
            </a:r>
          </a:p>
        </p:txBody>
      </p:sp>
      <p:sp>
        <p:nvSpPr>
          <p:cNvPr id="10" name="Slide Number Placeholder 5">
            <a:extLst>
              <a:ext uri="{FF2B5EF4-FFF2-40B4-BE49-F238E27FC236}">
                <a16:creationId xmlns:a16="http://schemas.microsoft.com/office/drawing/2014/main" id="{E26A8BBF-3621-614E-A8BD-63CAF9A756D3}"/>
              </a:ext>
            </a:extLst>
          </p:cNvPr>
          <p:cNvSpPr>
            <a:spLocks noGrp="1"/>
          </p:cNvSpPr>
          <p:nvPr>
            <p:ph type="sldNum" sz="quarter" idx="4"/>
          </p:nvPr>
        </p:nvSpPr>
        <p:spPr>
          <a:xfrm>
            <a:off x="879966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93C2FB-EF86-FD49-89EB-659751C15892}" type="slidenum">
              <a:rPr lang="en-US" smtClean="0"/>
              <a:t>‹#›</a:t>
            </a:fld>
            <a:endParaRPr lang="en-US"/>
          </a:p>
        </p:txBody>
      </p:sp>
      <p:sp>
        <p:nvSpPr>
          <p:cNvPr id="8" name="Rectangle 7">
            <a:extLst>
              <a:ext uri="{FF2B5EF4-FFF2-40B4-BE49-F238E27FC236}">
                <a16:creationId xmlns:a16="http://schemas.microsoft.com/office/drawing/2014/main" id="{BE74E902-04FB-F74E-8524-8E36EEAF268C}"/>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2" name="Picture 11">
            <a:extLst>
              <a:ext uri="{FF2B5EF4-FFF2-40B4-BE49-F238E27FC236}">
                <a16:creationId xmlns:a16="http://schemas.microsoft.com/office/drawing/2014/main" id="{9FE5B02F-84B2-374D-A5F1-4AEF59DF765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185341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userDrawn="1"/>
        </p:nvPicPr>
        <p:blipFill>
          <a:blip r:embed="rId2">
            <a:alphaModFix amt="35000"/>
          </a:blip>
          <a:stretch>
            <a:fillRect/>
          </a:stretch>
        </p:blipFill>
        <p:spPr>
          <a:xfrm>
            <a:off x="2780780"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759554" cy="1312075"/>
          </a:xfrm>
        </p:spPr>
        <p:txBody>
          <a:bodyPr anchor="b" anchorCtr="0"/>
          <a:lstStyle>
            <a:lvl1pPr algn="l">
              <a:defRPr sz="4800" b="0" i="0">
                <a:solidFill>
                  <a:schemeClr val="bg2">
                    <a:lumMod val="25000"/>
                  </a:schemeClr>
                </a:solidFill>
                <a:latin typeface="+mj-lt"/>
                <a:ea typeface="Roboto Slab Thin"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759554"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F46D4E3C-7F9C-880F-4424-22C22CA606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51094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Closing Sla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F5234B-206E-8947-ACA6-B098E14C8FB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9A3D6B5A-383E-41D5-8F77-DB7ACDD451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Tree>
    <p:extLst>
      <p:ext uri="{BB962C8B-B14F-4D97-AF65-F5344CB8AC3E}">
        <p14:creationId xmlns:p14="http://schemas.microsoft.com/office/powerpoint/2010/main" val="163733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userDrawn="1"/>
        </p:nvPicPr>
        <p:blipFill>
          <a:blip r:embed="rId2">
            <a:alphaModFix amt="35000"/>
          </a:blip>
          <a:stretch>
            <a:fillRect/>
          </a:stretch>
        </p:blipFill>
        <p:spPr>
          <a:xfrm>
            <a:off x="2782206"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1"/>
                </a:solidFill>
                <a:latin typeface="+mj-lt"/>
                <a:cs typeface="Calibri" panose="020F050202020403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1"/>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2891D32A-21E9-02EB-DAAD-CED32F313B7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63160" y="740314"/>
            <a:ext cx="2220647" cy="1382239"/>
          </a:xfrm>
          <a:prstGeom prst="rect">
            <a:avLst/>
          </a:prstGeom>
        </p:spPr>
      </p:pic>
    </p:spTree>
    <p:extLst>
      <p:ext uri="{BB962C8B-B14F-4D97-AF65-F5344CB8AC3E}">
        <p14:creationId xmlns:p14="http://schemas.microsoft.com/office/powerpoint/2010/main" val="51094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Op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1"/>
                </a:solidFill>
                <a:latin typeface="+mj-lt"/>
                <a:cs typeface="Calibri" panose="020F0502020204030204" pitchFamily="34" charset="0"/>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31E2702E-14ED-A049-8014-3B70633791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3111" y="740314"/>
            <a:ext cx="2220647" cy="1553708"/>
          </a:xfrm>
          <a:prstGeom prst="rect">
            <a:avLst/>
          </a:prstGeom>
        </p:spPr>
      </p:pic>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1"/>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spTree>
    <p:extLst>
      <p:ext uri="{BB962C8B-B14F-4D97-AF65-F5344CB8AC3E}">
        <p14:creationId xmlns:p14="http://schemas.microsoft.com/office/powerpoint/2010/main" val="306758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Option 6">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E58B8C-779F-184B-97E6-77B9C082B6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Subhead or Date</a:t>
            </a:r>
          </a:p>
        </p:txBody>
      </p:sp>
      <p:cxnSp>
        <p:nvCxnSpPr>
          <p:cNvPr id="8" name="Straight Connector 7"/>
          <p:cNvCxnSpPr/>
          <p:nvPr userDrawn="1"/>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userDrawn="1"/>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3CD76B4-22F5-3E47-AA52-453C44E95AB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56616" y="4892040"/>
            <a:ext cx="1464537" cy="1025421"/>
          </a:xfrm>
          <a:prstGeom prst="rect">
            <a:avLst/>
          </a:prstGeom>
        </p:spPr>
      </p:pic>
    </p:spTree>
    <p:extLst>
      <p:ext uri="{BB962C8B-B14F-4D97-AF65-F5344CB8AC3E}">
        <p14:creationId xmlns:p14="http://schemas.microsoft.com/office/powerpoint/2010/main" val="171755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Option 1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3C990-91EF-DB46-9027-FA2760C960B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4036" y="-27432"/>
            <a:ext cx="12206036" cy="6885432"/>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1"/>
                </a:solidFill>
                <a:latin typeface="+mj-lt"/>
                <a:cs typeface="Calibri" panose="020F0502020204030204" pitchFamily="34" charset="0"/>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31E2702E-14ED-A049-8014-3B70633791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3111" y="740314"/>
            <a:ext cx="2220647" cy="1553708"/>
          </a:xfrm>
          <a:prstGeom prst="rect">
            <a:avLst/>
          </a:prstGeom>
        </p:spPr>
      </p:pic>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1"/>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spTree>
    <p:extLst>
      <p:ext uri="{BB962C8B-B14F-4D97-AF65-F5344CB8AC3E}">
        <p14:creationId xmlns:p14="http://schemas.microsoft.com/office/powerpoint/2010/main" val="25293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75095"/>
            <a:ext cx="9560560" cy="1020827"/>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lvl1pPr>
              <a:buNone/>
              <a:defRPr sz="2400"/>
            </a:lvl1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2" name="Picture 11">
            <a:extLst>
              <a:ext uri="{FF2B5EF4-FFF2-40B4-BE49-F238E27FC236}">
                <a16:creationId xmlns:a16="http://schemas.microsoft.com/office/drawing/2014/main" id="{9B775829-8C77-2C40-91ED-842FD4C9513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683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pos="7296" userDrawn="1">
          <p15:clr>
            <a:srgbClr val="FBAE40"/>
          </p15:clr>
        </p15:guide>
        <p15:guide id="4" orient="horz" pos="3912"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lide Option 2">
    <p:spTree>
      <p:nvGrpSpPr>
        <p:cNvPr id="1" name=""/>
        <p:cNvGrpSpPr/>
        <p:nvPr/>
      </p:nvGrpSpPr>
      <p:grpSpPr>
        <a:xfrm>
          <a:off x="0" y="0"/>
          <a:ext cx="0" cy="0"/>
          <a:chOff x="0" y="0"/>
          <a:chExt cx="0" cy="0"/>
        </a:xfrm>
      </p:grpSpPr>
      <p:pic>
        <p:nvPicPr>
          <p:cNvPr id="10" name="Picture 9" descr="A group of people around each other&#10;&#10;Description automatically generated">
            <a:extLst>
              <a:ext uri="{FF2B5EF4-FFF2-40B4-BE49-F238E27FC236}">
                <a16:creationId xmlns:a16="http://schemas.microsoft.com/office/drawing/2014/main" id="{46E58B8C-779F-184B-97E6-77B9C082B6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Subhead or Date</a:t>
            </a:r>
          </a:p>
        </p:txBody>
      </p:sp>
      <p:cxnSp>
        <p:nvCxnSpPr>
          <p:cNvPr id="8" name="Straight Connector 7"/>
          <p:cNvCxnSpPr/>
          <p:nvPr userDrawn="1"/>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userDrawn="1"/>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7EE6BAF-86B0-E654-40C3-B24271A5435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228581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Slide Op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2">
                    <a:lumMod val="25000"/>
                  </a:schemeClr>
                </a:solidFill>
                <a:latin typeface="+mj-lt"/>
                <a:cs typeface="Calibri" panose="020F050202020403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2">
                    <a:lumMod val="25000"/>
                  </a:schemeClr>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AD5B4C1B-8876-3431-273A-2A183C66496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48756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 Slide Option 6">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E58B8C-779F-184B-97E6-77B9C082B6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Subhead or Date</a:t>
            </a:r>
          </a:p>
        </p:txBody>
      </p:sp>
      <p:cxnSp>
        <p:nvCxnSpPr>
          <p:cNvPr id="8" name="Straight Connector 7"/>
          <p:cNvCxnSpPr/>
          <p:nvPr userDrawn="1"/>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userDrawn="1"/>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FD56747C-94AA-A8D7-4CC8-F7BD2D7615D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208222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Title Slide Option 1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3C990-91EF-DB46-9027-FA2760C960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036" y="-27432"/>
            <a:ext cx="12206036" cy="6885432"/>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2">
                    <a:lumMod val="25000"/>
                  </a:schemeClr>
                </a:solidFill>
                <a:latin typeface="+mj-lt"/>
                <a:cs typeface="Calibri" panose="020F050202020403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2">
                    <a:lumMod val="25000"/>
                  </a:schemeClr>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626BC9CF-C5C7-19C0-E4BC-F30A5B0798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160438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Option 2">
    <p:spTree>
      <p:nvGrpSpPr>
        <p:cNvPr id="1" name=""/>
        <p:cNvGrpSpPr/>
        <p:nvPr/>
      </p:nvGrpSpPr>
      <p:grpSpPr>
        <a:xfrm>
          <a:off x="0" y="0"/>
          <a:ext cx="0" cy="0"/>
          <a:chOff x="0" y="0"/>
          <a:chExt cx="0" cy="0"/>
        </a:xfrm>
      </p:grpSpPr>
      <p:pic>
        <p:nvPicPr>
          <p:cNvPr id="10" name="Picture 9" descr="A group of people around each other&#10;&#10;Description automatically generated">
            <a:extLst>
              <a:ext uri="{FF2B5EF4-FFF2-40B4-BE49-F238E27FC236}">
                <a16:creationId xmlns:a16="http://schemas.microsoft.com/office/drawing/2014/main" id="{46E58B8C-779F-184B-97E6-77B9C082B6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userDrawn="1"/>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userDrawn="1"/>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7EE6BAF-86B0-E654-40C3-B24271A5435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21141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One Column_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D253C39-5D5C-0942-AF66-9A859B40953B}"/>
              </a:ext>
            </a:extLst>
          </p:cNvPr>
          <p:cNvSpPr>
            <a:spLocks noGrp="1"/>
          </p:cNvSpPr>
          <p:nvPr>
            <p:ph type="body" sz="quarter" idx="13" hasCustomPrompt="1"/>
          </p:nvPr>
        </p:nvSpPr>
        <p:spPr>
          <a:xfrm>
            <a:off x="609600" y="965200"/>
            <a:ext cx="9490075" cy="284163"/>
          </a:xfrm>
        </p:spPr>
        <p:txBody>
          <a:bodyPr/>
          <a:lstStyle>
            <a:lvl1pPr marL="0" indent="0">
              <a:buNone/>
              <a:defRPr i="1">
                <a:solidFill>
                  <a:schemeClr val="tx2">
                    <a:lumMod val="60000"/>
                    <a:lumOff val="40000"/>
                  </a:schemeClr>
                </a:solidFill>
              </a:defRPr>
            </a:lvl1pPr>
          </a:lstStyle>
          <a:p>
            <a:pPr lvl="0"/>
            <a:r>
              <a:rPr lang="en-US" i="1"/>
              <a:t>Click to edit subtitle style</a:t>
            </a:r>
            <a:endParaRPr lang="en-US"/>
          </a:p>
        </p:txBody>
      </p:sp>
      <p:pic>
        <p:nvPicPr>
          <p:cNvPr id="4" name="Graphic 3">
            <a:extLst>
              <a:ext uri="{FF2B5EF4-FFF2-40B4-BE49-F238E27FC236}">
                <a16:creationId xmlns:a16="http://schemas.microsoft.com/office/drawing/2014/main" id="{90B7DE28-5581-D231-8115-332BCBBA55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88074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One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5CBDB16C-FCE1-654B-A8B0-03B0C3BDA997}"/>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0" name="Text Placeholder 6">
            <a:extLst>
              <a:ext uri="{FF2B5EF4-FFF2-40B4-BE49-F238E27FC236}">
                <a16:creationId xmlns:a16="http://schemas.microsoft.com/office/drawing/2014/main" id="{373B8F32-84C1-6145-9135-8814C97CD21F}"/>
              </a:ext>
            </a:extLst>
          </p:cNvPr>
          <p:cNvSpPr>
            <a:spLocks noGrp="1"/>
          </p:cNvSpPr>
          <p:nvPr>
            <p:ph type="body" sz="quarter" idx="13" hasCustomPrompt="1"/>
          </p:nvPr>
        </p:nvSpPr>
        <p:spPr>
          <a:xfrm>
            <a:off x="609600" y="792480"/>
            <a:ext cx="9490075"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27F8071D-62CF-B3AA-6EB8-2933D34072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43306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wo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ifth level</a:t>
            </a:r>
          </a:p>
        </p:txBody>
      </p:sp>
      <p:sp>
        <p:nvSpPr>
          <p:cNvPr id="8" name="Content Placeholder 2">
            <a:extLst>
              <a:ext uri="{FF2B5EF4-FFF2-40B4-BE49-F238E27FC236}">
                <a16:creationId xmlns:a16="http://schemas.microsoft.com/office/drawing/2014/main" id="{35075194-28C8-6C42-A983-2C98652AC99E}"/>
              </a:ext>
            </a:extLst>
          </p:cNvPr>
          <p:cNvSpPr>
            <a:spLocks noGrp="1"/>
          </p:cNvSpPr>
          <p:nvPr>
            <p:ph sz="half" idx="13"/>
          </p:nvPr>
        </p:nvSpPr>
        <p:spPr>
          <a:xfrm>
            <a:off x="6327732" y="1576715"/>
            <a:ext cx="5254668" cy="4614862"/>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0" name="Picture 11">
            <a:extLst>
              <a:ext uri="{FF2B5EF4-FFF2-40B4-BE49-F238E27FC236}">
                <a16:creationId xmlns:a16="http://schemas.microsoft.com/office/drawing/2014/main" id="{BCA1DC40-FDAC-B940-A9B4-B7907DF4D86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cxnSp>
        <p:nvCxnSpPr>
          <p:cNvPr id="14" name="Straight Connector 13">
            <a:extLst>
              <a:ext uri="{FF2B5EF4-FFF2-40B4-BE49-F238E27FC236}">
                <a16:creationId xmlns:a16="http://schemas.microsoft.com/office/drawing/2014/main" id="{2581F3A1-E986-E642-A06A-620E378A355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2501A62-76E2-DD4B-90E6-E5FE9B329DA3}"/>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45DAB394-EDF1-5D48-920C-20021D8EF0C6}"/>
              </a:ext>
            </a:extLst>
          </p:cNvPr>
          <p:cNvSpPr>
            <a:spLocks noGrp="1"/>
          </p:cNvSpPr>
          <p:nvPr>
            <p:ph type="body" sz="quarter" idx="14" hasCustomPrompt="1"/>
          </p:nvPr>
        </p:nvSpPr>
        <p:spPr>
          <a:xfrm>
            <a:off x="609600" y="792480"/>
            <a:ext cx="9490075"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sp>
        <p:nvSpPr>
          <p:cNvPr id="13" name="Slide Number Placeholder 5">
            <a:extLst>
              <a:ext uri="{FF2B5EF4-FFF2-40B4-BE49-F238E27FC236}">
                <a16:creationId xmlns:a16="http://schemas.microsoft.com/office/drawing/2014/main" id="{45512968-4978-084F-B07F-3A66CB132140}"/>
              </a:ext>
            </a:extLst>
          </p:cNvPr>
          <p:cNvSpPr>
            <a:spLocks noGrp="1"/>
          </p:cNvSpPr>
          <p:nvPr>
            <p:ph type="sldNum" sz="quarter" idx="12"/>
          </p:nvPr>
        </p:nvSpPr>
        <p:spPr>
          <a:xfrm>
            <a:off x="9043208" y="6336030"/>
            <a:ext cx="2549352" cy="365125"/>
          </a:xfrm>
        </p:spPr>
        <p:txBody>
          <a:bodyPr/>
          <a:lstStyle/>
          <a:p>
            <a:fld id="{6DD660AA-F4B9-9E4A-970E-DF14D91E0EC0}" type="slidenum">
              <a:rPr lang="en-US" smtClean="0"/>
              <a:t>‹#›</a:t>
            </a:fld>
            <a:endParaRPr lang="en-US"/>
          </a:p>
        </p:txBody>
      </p:sp>
    </p:spTree>
    <p:extLst>
      <p:ext uri="{BB962C8B-B14F-4D97-AF65-F5344CB8AC3E}">
        <p14:creationId xmlns:p14="http://schemas.microsoft.com/office/powerpoint/2010/main" val="400938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ifth level</a:t>
            </a: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8" name="Content Placeholder 2">
            <a:extLst>
              <a:ext uri="{FF2B5EF4-FFF2-40B4-BE49-F238E27FC236}">
                <a16:creationId xmlns:a16="http://schemas.microsoft.com/office/drawing/2014/main" id="{35075194-28C8-6C42-A983-2C98652AC99E}"/>
              </a:ext>
            </a:extLst>
          </p:cNvPr>
          <p:cNvSpPr>
            <a:spLocks noGrp="1"/>
          </p:cNvSpPr>
          <p:nvPr>
            <p:ph sz="half" idx="13"/>
          </p:nvPr>
        </p:nvSpPr>
        <p:spPr>
          <a:xfrm>
            <a:off x="6327732" y="1576715"/>
            <a:ext cx="5254668" cy="4614862"/>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2" name="Straight Connector 11">
            <a:extLst>
              <a:ext uri="{FF2B5EF4-FFF2-40B4-BE49-F238E27FC236}">
                <a16:creationId xmlns:a16="http://schemas.microsoft.com/office/drawing/2014/main" id="{A790DA94-B1B1-F540-B236-89961D005175}"/>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5149A5D1-1E27-3449-8A9D-C212D7E5C4B3}"/>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9C87D7E4-C7D3-33A6-C205-BF49A873BF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45860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wo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Calibri Light" panose="020F0302020204030204" pitchFamily="34" charset="0"/>
                <a:ea typeface="+mn-ea"/>
                <a:cs typeface="Calibri Light" panose="020F0302020204030204" pitchFamily="34" charset="0"/>
              </a:rPr>
              <a:t>Fifth level</a:t>
            </a: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8" name="Content Placeholder 2">
            <a:extLst>
              <a:ext uri="{FF2B5EF4-FFF2-40B4-BE49-F238E27FC236}">
                <a16:creationId xmlns:a16="http://schemas.microsoft.com/office/drawing/2014/main" id="{35075194-28C8-6C42-A983-2C98652AC99E}"/>
              </a:ext>
            </a:extLst>
          </p:cNvPr>
          <p:cNvSpPr>
            <a:spLocks noGrp="1"/>
          </p:cNvSpPr>
          <p:nvPr>
            <p:ph sz="half" idx="13"/>
          </p:nvPr>
        </p:nvSpPr>
        <p:spPr>
          <a:xfrm>
            <a:off x="6327732" y="1576715"/>
            <a:ext cx="5254668" cy="4614862"/>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2501A62-76E2-DD4B-90E6-E5FE9B329DA3}"/>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45DAB394-EDF1-5D48-920C-20021D8EF0C6}"/>
              </a:ext>
            </a:extLst>
          </p:cNvPr>
          <p:cNvSpPr>
            <a:spLocks noGrp="1"/>
          </p:cNvSpPr>
          <p:nvPr>
            <p:ph type="body" sz="quarter" idx="14" hasCustomPrompt="1"/>
          </p:nvPr>
        </p:nvSpPr>
        <p:spPr>
          <a:xfrm>
            <a:off x="609600" y="792480"/>
            <a:ext cx="9490075"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FA73EDE9-E753-AC30-F3A1-835BB1888EB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92126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5" name="Straight Connector 14">
            <a:extLst>
              <a:ext uri="{FF2B5EF4-FFF2-40B4-BE49-F238E27FC236}">
                <a16:creationId xmlns:a16="http://schemas.microsoft.com/office/drawing/2014/main" id="{7E721B0F-1544-B342-8ED3-E88A03FB306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45F7755-2DA8-0A4A-B346-37B838F8FADB}"/>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35654BFD-DB60-606E-0651-61D9A7EC8F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95664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3 Column_Subhea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6" name="Title 1">
            <a:extLst>
              <a:ext uri="{FF2B5EF4-FFF2-40B4-BE49-F238E27FC236}">
                <a16:creationId xmlns:a16="http://schemas.microsoft.com/office/drawing/2014/main" id="{43832153-8289-6948-9B14-0F51FAF7A04F}"/>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C4BF11BC-523B-124E-8A1E-C9ADCE3E1B4E}"/>
              </a:ext>
            </a:extLst>
          </p:cNvPr>
          <p:cNvSpPr>
            <a:spLocks noGrp="1"/>
          </p:cNvSpPr>
          <p:nvPr>
            <p:ph type="body" sz="quarter" idx="15" hasCustomPrompt="1"/>
          </p:nvPr>
        </p:nvSpPr>
        <p:spPr>
          <a:xfrm>
            <a:off x="609600" y="965200"/>
            <a:ext cx="9490075" cy="284163"/>
          </a:xfrm>
        </p:spPr>
        <p:txBody>
          <a:bodyPr/>
          <a:lstStyle>
            <a:lvl1pPr marL="0" indent="0">
              <a:buNone/>
              <a:defRPr i="1">
                <a:solidFill>
                  <a:schemeClr val="tx2">
                    <a:lumMod val="60000"/>
                    <a:lumOff val="40000"/>
                  </a:schemeClr>
                </a:solidFill>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D3BDBEED-4242-B3D2-0C81-52E8F6D36C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43097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3 Column_Subhead 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7BB336AE-C178-AC43-84E5-33C29412B255}"/>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5" name="Text Placeholder 6">
            <a:extLst>
              <a:ext uri="{FF2B5EF4-FFF2-40B4-BE49-F238E27FC236}">
                <a16:creationId xmlns:a16="http://schemas.microsoft.com/office/drawing/2014/main" id="{53D86292-7698-6646-8991-2844CE386BCF}"/>
              </a:ext>
            </a:extLst>
          </p:cNvPr>
          <p:cNvSpPr>
            <a:spLocks noGrp="1"/>
          </p:cNvSpPr>
          <p:nvPr>
            <p:ph type="body" sz="quarter" idx="15" hasCustomPrompt="1"/>
          </p:nvPr>
        </p:nvSpPr>
        <p:spPr>
          <a:xfrm>
            <a:off x="609600" y="792480"/>
            <a:ext cx="9490075"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03816E19-81FB-E44B-A0FC-08B5482069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26542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kinny Photo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0" name="Title 1">
            <a:extLst>
              <a:ext uri="{FF2B5EF4-FFF2-40B4-BE49-F238E27FC236}">
                <a16:creationId xmlns:a16="http://schemas.microsoft.com/office/drawing/2014/main" id="{99D72E9D-EE6F-134E-B5A9-2FB8729C96F7}"/>
              </a:ext>
            </a:extLst>
          </p:cNvPr>
          <p:cNvSpPr>
            <a:spLocks noGrp="1"/>
          </p:cNvSpPr>
          <p:nvPr>
            <p:ph type="title"/>
          </p:nvPr>
        </p:nvSpPr>
        <p:spPr>
          <a:xfrm>
            <a:off x="4724399" y="175095"/>
            <a:ext cx="5009909" cy="1020827"/>
          </a:xfrm>
        </p:spPr>
        <p:txBody>
          <a:bodyPr anchor="b" anchorCtr="0"/>
          <a:lstStyle>
            <a:lvl1pPr>
              <a:defRPr sz="3200"/>
            </a:lvl1pPr>
          </a:lstStyle>
          <a:p>
            <a:r>
              <a:rPr lang="en-US"/>
              <a:t>Click to edit Master title style</a:t>
            </a: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2DF696C-F86A-E6FD-52C3-E5DBA17269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96078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kinny Photo Left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49EA303-5278-A449-9440-6A0F1B3BBD5F}"/>
              </a:ext>
            </a:extLst>
          </p:cNvPr>
          <p:cNvSpPr>
            <a:spLocks noGrp="1"/>
          </p:cNvSpPr>
          <p:nvPr>
            <p:ph type="title"/>
          </p:nvPr>
        </p:nvSpPr>
        <p:spPr>
          <a:xfrm>
            <a:off x="4724400" y="325120"/>
            <a:ext cx="5354320" cy="568960"/>
          </a:xfrm>
        </p:spPr>
        <p:txBody>
          <a:bodyPr anchor="b" anchorCtr="0"/>
          <a:lstStyle>
            <a:lvl1pPr>
              <a:defRPr sz="3200"/>
            </a:lvl1pPr>
          </a:lstStyle>
          <a:p>
            <a:r>
              <a:rPr lang="en-US"/>
              <a:t>Click to edit Master title style</a:t>
            </a:r>
          </a:p>
        </p:txBody>
      </p:sp>
      <p:sp>
        <p:nvSpPr>
          <p:cNvPr id="14" name="Text Placeholder 6">
            <a:extLst>
              <a:ext uri="{FF2B5EF4-FFF2-40B4-BE49-F238E27FC236}">
                <a16:creationId xmlns:a16="http://schemas.microsoft.com/office/drawing/2014/main" id="{EDDC8735-3449-B949-BDF8-6A201B956E3C}"/>
              </a:ext>
            </a:extLst>
          </p:cNvPr>
          <p:cNvSpPr>
            <a:spLocks noGrp="1"/>
          </p:cNvSpPr>
          <p:nvPr>
            <p:ph type="body" sz="quarter" idx="14" hasCustomPrompt="1"/>
          </p:nvPr>
        </p:nvSpPr>
        <p:spPr>
          <a:xfrm>
            <a:off x="4724400" y="965200"/>
            <a:ext cx="5375275" cy="284163"/>
          </a:xfrm>
        </p:spPr>
        <p:txBody>
          <a:bodyPr/>
          <a:lstStyle>
            <a:lvl1pPr marL="0" indent="0">
              <a:buNone/>
              <a:defRPr i="1">
                <a:solidFill>
                  <a:schemeClr val="tx2">
                    <a:lumMod val="60000"/>
                    <a:lumOff val="40000"/>
                  </a:schemeClr>
                </a:solidFill>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6021EEE9-C726-9AEB-F8C8-BFE321119D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19350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Op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60552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AD5B4C1B-8876-3431-273A-2A183C66496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306758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Skinny Photo Left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3DC57D1-818A-3B48-9EFC-82C14F8DA905}"/>
              </a:ext>
            </a:extLst>
          </p:cNvPr>
          <p:cNvSpPr>
            <a:spLocks noGrp="1"/>
          </p:cNvSpPr>
          <p:nvPr>
            <p:ph type="title"/>
          </p:nvPr>
        </p:nvSpPr>
        <p:spPr>
          <a:xfrm>
            <a:off x="4724400" y="274320"/>
            <a:ext cx="5354320" cy="426720"/>
          </a:xfrm>
        </p:spPr>
        <p:txBody>
          <a:bodyPr anchor="b" anchorCtr="0"/>
          <a:lstStyle>
            <a:lvl1pPr>
              <a:defRPr sz="3200"/>
            </a:lvl1pPr>
          </a:lstStyle>
          <a:p>
            <a:r>
              <a:rPr lang="en-US"/>
              <a:t>Click to edit Master title style</a:t>
            </a:r>
          </a:p>
        </p:txBody>
      </p:sp>
      <p:sp>
        <p:nvSpPr>
          <p:cNvPr id="13" name="Text Placeholder 6">
            <a:extLst>
              <a:ext uri="{FF2B5EF4-FFF2-40B4-BE49-F238E27FC236}">
                <a16:creationId xmlns:a16="http://schemas.microsoft.com/office/drawing/2014/main" id="{676E6F74-E1C4-B548-9A47-4B556FD86281}"/>
              </a:ext>
            </a:extLst>
          </p:cNvPr>
          <p:cNvSpPr>
            <a:spLocks noGrp="1"/>
          </p:cNvSpPr>
          <p:nvPr>
            <p:ph type="body" sz="quarter" idx="14" hasCustomPrompt="1"/>
          </p:nvPr>
        </p:nvSpPr>
        <p:spPr>
          <a:xfrm>
            <a:off x="4733506" y="792480"/>
            <a:ext cx="5366169"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ECD6FAC8-E1F2-F235-5D9C-4C9B705CDB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90372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wo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8" name="Content Placeholder 2">
            <a:extLst>
              <a:ext uri="{FF2B5EF4-FFF2-40B4-BE49-F238E27FC236}">
                <a16:creationId xmlns:a16="http://schemas.microsoft.com/office/drawing/2014/main" id="{35075194-28C8-6C42-A983-2C98652AC99E}"/>
              </a:ext>
            </a:extLst>
          </p:cNvPr>
          <p:cNvSpPr>
            <a:spLocks noGrp="1"/>
          </p:cNvSpPr>
          <p:nvPr>
            <p:ph sz="half" idx="13"/>
          </p:nvPr>
        </p:nvSpPr>
        <p:spPr>
          <a:xfrm>
            <a:off x="6327732" y="1576715"/>
            <a:ext cx="5254668" cy="4614862"/>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0" name="Picture 11">
            <a:extLst>
              <a:ext uri="{FF2B5EF4-FFF2-40B4-BE49-F238E27FC236}">
                <a16:creationId xmlns:a16="http://schemas.microsoft.com/office/drawing/2014/main" id="{BCA1DC40-FDAC-B940-A9B4-B7907DF4D86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cxnSp>
        <p:nvCxnSpPr>
          <p:cNvPr id="12" name="Straight Connector 11">
            <a:extLst>
              <a:ext uri="{FF2B5EF4-FFF2-40B4-BE49-F238E27FC236}">
                <a16:creationId xmlns:a16="http://schemas.microsoft.com/office/drawing/2014/main" id="{A790DA94-B1B1-F540-B236-89961D005175}"/>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D86E4034-9D61-EC4D-A877-769A880B9CE3}"/>
              </a:ext>
            </a:extLst>
          </p:cNvPr>
          <p:cNvSpPr>
            <a:spLocks noGrp="1"/>
          </p:cNvSpPr>
          <p:nvPr>
            <p:ph type="title"/>
          </p:nvPr>
        </p:nvSpPr>
        <p:spPr>
          <a:xfrm>
            <a:off x="609600" y="175095"/>
            <a:ext cx="9560560" cy="1020827"/>
          </a:xfrm>
        </p:spPr>
        <p:txBody>
          <a:bodyPr anchor="b" anchorCtr="0"/>
          <a:lstStyle>
            <a:lvl1pPr>
              <a:defRPr sz="3200"/>
            </a:lvl1pPr>
          </a:lstStyle>
          <a:p>
            <a:r>
              <a:rPr lang="en-US"/>
              <a:t>Click to edit Master title style</a:t>
            </a:r>
          </a:p>
        </p:txBody>
      </p:sp>
      <p:sp>
        <p:nvSpPr>
          <p:cNvPr id="11" name="Content Placeholder 2">
            <a:extLst>
              <a:ext uri="{FF2B5EF4-FFF2-40B4-BE49-F238E27FC236}">
                <a16:creationId xmlns:a16="http://schemas.microsoft.com/office/drawing/2014/main" id="{5664BBB1-950C-3F47-9EAE-2C41ACD6BDEB}"/>
              </a:ext>
            </a:extLst>
          </p:cNvPr>
          <p:cNvSpPr>
            <a:spLocks noGrp="1"/>
          </p:cNvSpPr>
          <p:nvPr>
            <p:ph sz="half" idx="14"/>
          </p:nvPr>
        </p:nvSpPr>
        <p:spPr>
          <a:xfrm>
            <a:off x="617812" y="1586875"/>
            <a:ext cx="5254668" cy="4614862"/>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2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orient="horz" pos="3912" userDrawn="1">
          <p15:clr>
            <a:srgbClr val="FBAE40"/>
          </p15:clr>
        </p15:guide>
        <p15:guide id="4" pos="7296"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userDrawn="1"/>
        </p:nvPicPr>
        <p:blipFill>
          <a:blip r:embed="rId2">
            <a:alphaModFix amt="35000"/>
          </a:blip>
          <a:stretch>
            <a:fillRect/>
          </a:stretch>
        </p:blipFill>
        <p:spPr>
          <a:xfrm>
            <a:off x="2782206"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1"/>
                </a:solidFill>
                <a:latin typeface="+mj-lt"/>
                <a:cs typeface="Calibri" panose="020F0502020204030204" pitchFamily="34" charset="0"/>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31E2702E-14ED-A049-8014-3B70633791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3111" y="740314"/>
            <a:ext cx="2220647" cy="1553708"/>
          </a:xfrm>
          <a:prstGeom prst="rect">
            <a:avLst/>
          </a:prstGeom>
        </p:spPr>
      </p:pic>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1"/>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spTree>
    <p:extLst>
      <p:ext uri="{BB962C8B-B14F-4D97-AF65-F5344CB8AC3E}">
        <p14:creationId xmlns:p14="http://schemas.microsoft.com/office/powerpoint/2010/main" val="51094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3932DE-E5D4-BC4D-BF53-046E2F877CF3}"/>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5" name="Picture 11">
            <a:extLst>
              <a:ext uri="{FF2B5EF4-FFF2-40B4-BE49-F238E27FC236}">
                <a16:creationId xmlns:a16="http://schemas.microsoft.com/office/drawing/2014/main" id="{CCE1327B-D819-4F42-A28E-6506B8207F5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284108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2" y="2121"/>
          <a:ext cx="2116" cy="2116"/>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122" y="2121"/>
                        <a:ext cx="2116" cy="2116"/>
                      </a:xfrm>
                      <a:prstGeom prst="rect">
                        <a:avLst/>
                      </a:prstGeom>
                    </p:spPr>
                  </p:pic>
                </p:oleObj>
              </mc:Fallback>
            </mc:AlternateContent>
          </a:graphicData>
        </a:graphic>
      </p:graphicFrame>
      <p:sp>
        <p:nvSpPr>
          <p:cNvPr id="10" name="Rectangle 4"/>
          <p:cNvSpPr>
            <a:spLocks noGrp="1" noChangeArrowheads="1"/>
          </p:cNvSpPr>
          <p:nvPr>
            <p:ph type="title" hasCustomPrompt="1"/>
          </p:nvPr>
        </p:nvSpPr>
        <p:spPr bwMode="gray">
          <a:xfrm>
            <a:off x="390144" y="305272"/>
            <a:ext cx="11362944" cy="488929"/>
          </a:xfrm>
          <a:prstGeom prst="rect">
            <a:avLst/>
          </a:prstGeom>
          <a:noFill/>
          <a:ln w="9525" algn="ctr">
            <a:noFill/>
            <a:miter lim="800000"/>
            <a:headEnd/>
            <a:tailEnd/>
          </a:ln>
        </p:spPr>
        <p:txBody>
          <a:bodyPr vert="horz" wrap="square" lIns="0" tIns="91194" rIns="91194" bIns="45597" numCol="1" anchor="b" anchorCtr="0" compatLnSpc="1">
            <a:prstTxWarp prst="textNoShape">
              <a:avLst/>
            </a:prstTxWarp>
            <a:spAutoFit/>
          </a:bodyPr>
          <a:lstStyle>
            <a:lvl1pPr>
              <a:defRPr sz="2533" b="1">
                <a:solidFill>
                  <a:schemeClr val="tx1">
                    <a:lumMod val="85000"/>
                    <a:lumOff val="15000"/>
                  </a:schemeClr>
                </a:solidFill>
              </a:defRPr>
            </a:lvl1pPr>
          </a:lstStyle>
          <a:p>
            <a:pPr lvl="0"/>
            <a:r>
              <a:rPr lang="en-US"/>
              <a:t>Slide lead</a:t>
            </a:r>
          </a:p>
        </p:txBody>
      </p:sp>
      <p:sp>
        <p:nvSpPr>
          <p:cNvPr id="4" name="StickerRectangle"/>
          <p:cNvSpPr>
            <a:spLocks noChangeArrowheads="1"/>
          </p:cNvSpPr>
          <p:nvPr userDrawn="1"/>
        </p:nvSpPr>
        <p:spPr bwMode="gray">
          <a:xfrm>
            <a:off x="4954364" y="6595351"/>
            <a:ext cx="2268312" cy="14356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36575" tIns="0" rIns="0" bIns="0">
            <a:spAutoFit/>
          </a:bodyPr>
          <a:lstStyle/>
          <a:p>
            <a:pPr algn="r" defTabSz="1166070">
              <a:buClr>
                <a:srgbClr val="F5824F"/>
              </a:buClr>
            </a:pPr>
            <a:r>
              <a:rPr lang="en-US" sz="933">
                <a:solidFill>
                  <a:srgbClr val="808080">
                    <a:alpha val="49000"/>
                  </a:srgbClr>
                </a:solidFill>
                <a:latin typeface="Arial"/>
              </a:rPr>
              <a:t>CONFIDENTIAL – DO NOT DISTRIBUTE</a:t>
            </a:r>
          </a:p>
        </p:txBody>
      </p:sp>
    </p:spTree>
    <p:extLst>
      <p:ext uri="{BB962C8B-B14F-4D97-AF65-F5344CB8AC3E}">
        <p14:creationId xmlns:p14="http://schemas.microsoft.com/office/powerpoint/2010/main" val="3549069729"/>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3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0" name="Picture 11">
            <a:extLst>
              <a:ext uri="{FF2B5EF4-FFF2-40B4-BE49-F238E27FC236}">
                <a16:creationId xmlns:a16="http://schemas.microsoft.com/office/drawing/2014/main" id="{A576E739-02E2-284B-B307-91C3AC5EB4E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cxnSp>
        <p:nvCxnSpPr>
          <p:cNvPr id="15" name="Straight Connector 14">
            <a:extLst>
              <a:ext uri="{FF2B5EF4-FFF2-40B4-BE49-F238E27FC236}">
                <a16:creationId xmlns:a16="http://schemas.microsoft.com/office/drawing/2014/main" id="{7E721B0F-1544-B342-8ED3-E88A03FB306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A444CEB6-F74A-6E4E-9012-9FC03CA0C7D5}"/>
              </a:ext>
            </a:extLst>
          </p:cNvPr>
          <p:cNvSpPr>
            <a:spLocks noGrp="1"/>
          </p:cNvSpPr>
          <p:nvPr>
            <p:ph type="title"/>
          </p:nvPr>
        </p:nvSpPr>
        <p:spPr>
          <a:xfrm>
            <a:off x="609600" y="175095"/>
            <a:ext cx="9560560" cy="1020827"/>
          </a:xfrm>
        </p:spPr>
        <p:txBody>
          <a:bodyPr anchor="b" anchorCtr="0"/>
          <a:lstStyle>
            <a:lvl1pPr>
              <a:defRPr sz="3200"/>
            </a:lvl1pPr>
          </a:lstStyle>
          <a:p>
            <a:r>
              <a:rPr lang="en-US"/>
              <a:t>Click to edit Master title style</a:t>
            </a:r>
          </a:p>
        </p:txBody>
      </p:sp>
    </p:spTree>
    <p:extLst>
      <p:ext uri="{BB962C8B-B14F-4D97-AF65-F5344CB8AC3E}">
        <p14:creationId xmlns:p14="http://schemas.microsoft.com/office/powerpoint/2010/main" val="5772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pos="7296" userDrawn="1">
          <p15:clr>
            <a:srgbClr val="FBAE40"/>
          </p15:clr>
        </p15:guide>
        <p15:guide id="4" orient="horz" pos="3912"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Skinny Photo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9" name="Picture 11">
            <a:extLst>
              <a:ext uri="{FF2B5EF4-FFF2-40B4-BE49-F238E27FC236}">
                <a16:creationId xmlns:a16="http://schemas.microsoft.com/office/drawing/2014/main" id="{0E2FA522-D656-A84F-8734-DEE8FEBAB7D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
        <p:nvSpPr>
          <p:cNvPr id="10" name="Title 1">
            <a:extLst>
              <a:ext uri="{FF2B5EF4-FFF2-40B4-BE49-F238E27FC236}">
                <a16:creationId xmlns:a16="http://schemas.microsoft.com/office/drawing/2014/main" id="{99D72E9D-EE6F-134E-B5A9-2FB8729C96F7}"/>
              </a:ext>
            </a:extLst>
          </p:cNvPr>
          <p:cNvSpPr>
            <a:spLocks noGrp="1"/>
          </p:cNvSpPr>
          <p:nvPr>
            <p:ph type="title"/>
          </p:nvPr>
        </p:nvSpPr>
        <p:spPr>
          <a:xfrm>
            <a:off x="4724399" y="175095"/>
            <a:ext cx="5466081" cy="1020827"/>
          </a:xfrm>
        </p:spPr>
        <p:txBody>
          <a:bodyPr anchor="b" anchorCtr="0"/>
          <a:lstStyle>
            <a:lvl1pPr>
              <a:defRPr sz="3200"/>
            </a:lvl1pPr>
          </a:lstStyle>
          <a:p>
            <a:r>
              <a:rPr lang="en-US"/>
              <a:t>Click to edit Master title style</a:t>
            </a: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903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userDrawn="1">
          <p15:clr>
            <a:srgbClr val="FBAE40"/>
          </p15:clr>
        </p15:guide>
        <p15:guide id="2" pos="384" userDrawn="1">
          <p15:clr>
            <a:srgbClr val="FBAE40"/>
          </p15:clr>
        </p15:guide>
        <p15:guide id="3" pos="2784" userDrawn="1">
          <p15:clr>
            <a:srgbClr val="FBAE40"/>
          </p15:clr>
        </p15:guide>
        <p15:guide id="4" orient="horz" pos="984" userDrawn="1">
          <p15:clr>
            <a:srgbClr val="FBAE40"/>
          </p15:clr>
        </p15:guide>
        <p15:guide id="5" pos="2976" userDrawn="1">
          <p15:clr>
            <a:srgbClr val="FBAE40"/>
          </p15:clr>
        </p15:guide>
        <p15:guide id="6" pos="7296" userDrawn="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kinny Photo Right_Subhea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endParaRPr lang="en-US"/>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054A52C-27BC-0341-BC40-DC426058B22F}"/>
              </a:ext>
            </a:extLst>
          </p:cNvPr>
          <p:cNvSpPr>
            <a:spLocks noGrp="1"/>
          </p:cNvSpPr>
          <p:nvPr>
            <p:ph type="title"/>
          </p:nvPr>
        </p:nvSpPr>
        <p:spPr>
          <a:xfrm>
            <a:off x="609600" y="325120"/>
            <a:ext cx="6896100" cy="56896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D82369CF-5403-4E40-8CD7-4FFD11F5C557}"/>
              </a:ext>
            </a:extLst>
          </p:cNvPr>
          <p:cNvSpPr>
            <a:spLocks noGrp="1"/>
          </p:cNvSpPr>
          <p:nvPr>
            <p:ph type="body" sz="quarter" idx="14" hasCustomPrompt="1"/>
          </p:nvPr>
        </p:nvSpPr>
        <p:spPr>
          <a:xfrm>
            <a:off x="609601" y="965200"/>
            <a:ext cx="6896100" cy="284163"/>
          </a:xfrm>
        </p:spPr>
        <p:txBody>
          <a:bodyPr/>
          <a:lstStyle>
            <a:lvl1pPr marL="0" indent="0">
              <a:buNone/>
              <a:defRPr i="1">
                <a:solidFill>
                  <a:schemeClr val="tx2">
                    <a:lumMod val="60000"/>
                    <a:lumOff val="40000"/>
                  </a:schemeClr>
                </a:solidFill>
              </a:defRPr>
            </a:lvl1pPr>
          </a:lstStyle>
          <a:p>
            <a:pPr lvl="0"/>
            <a:r>
              <a:rPr lang="en-US" i="1"/>
              <a:t>Click to edit subtitle style</a:t>
            </a:r>
            <a:endParaRPr lang="en-US"/>
          </a:p>
        </p:txBody>
      </p:sp>
    </p:spTree>
    <p:extLst>
      <p:ext uri="{BB962C8B-B14F-4D97-AF65-F5344CB8AC3E}">
        <p14:creationId xmlns:p14="http://schemas.microsoft.com/office/powerpoint/2010/main" val="363948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kinny Photo Right_Subhead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endParaRPr lang="en-US"/>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E1529B8E-E21A-8543-BDAB-7D936F152680}"/>
              </a:ext>
            </a:extLst>
          </p:cNvPr>
          <p:cNvSpPr>
            <a:spLocks noGrp="1"/>
          </p:cNvSpPr>
          <p:nvPr>
            <p:ph type="title"/>
          </p:nvPr>
        </p:nvSpPr>
        <p:spPr>
          <a:xfrm>
            <a:off x="609600" y="274320"/>
            <a:ext cx="6880873" cy="426720"/>
          </a:xfrm>
        </p:spPr>
        <p:txBody>
          <a:bodyPr anchor="b" anchorCtr="0"/>
          <a:lstStyle>
            <a:lvl1pPr>
              <a:defRPr sz="3200"/>
            </a:lvl1pPr>
          </a:lstStyle>
          <a:p>
            <a:r>
              <a:rPr lang="en-US"/>
              <a:t>Click to edit Master title style</a:t>
            </a:r>
          </a:p>
        </p:txBody>
      </p:sp>
      <p:sp>
        <p:nvSpPr>
          <p:cNvPr id="9" name="Text Placeholder 6">
            <a:extLst>
              <a:ext uri="{FF2B5EF4-FFF2-40B4-BE49-F238E27FC236}">
                <a16:creationId xmlns:a16="http://schemas.microsoft.com/office/drawing/2014/main" id="{F9701E11-0FE4-7548-B605-B4E42F271401}"/>
              </a:ext>
            </a:extLst>
          </p:cNvPr>
          <p:cNvSpPr>
            <a:spLocks noGrp="1"/>
          </p:cNvSpPr>
          <p:nvPr>
            <p:ph type="body" sz="quarter" idx="14" hasCustomPrompt="1"/>
          </p:nvPr>
        </p:nvSpPr>
        <p:spPr>
          <a:xfrm>
            <a:off x="609601" y="792480"/>
            <a:ext cx="6896100" cy="426403"/>
          </a:xfrm>
        </p:spPr>
        <p:txBody>
          <a:bodyPr/>
          <a:lstStyle>
            <a:lvl1pPr marL="0" indent="0">
              <a:buNone/>
              <a:defRPr i="1">
                <a:solidFill>
                  <a:schemeClr val="tx2">
                    <a:lumMod val="60000"/>
                    <a:lumOff val="40000"/>
                  </a:schemeClr>
                </a:solidFill>
              </a:defRPr>
            </a:lvl1pPr>
          </a:lstStyle>
          <a:p>
            <a:pPr lvl="0"/>
            <a:r>
              <a:rPr lang="en-US" i="1"/>
              <a:t>Click to edit subtitle style</a:t>
            </a:r>
            <a:br>
              <a:rPr lang="en-US" i="1"/>
            </a:br>
            <a:r>
              <a:rPr lang="en-US" i="1"/>
              <a:t>Double Line Style</a:t>
            </a:r>
            <a:endParaRPr lang="en-US"/>
          </a:p>
        </p:txBody>
      </p:sp>
    </p:spTree>
    <p:extLst>
      <p:ext uri="{BB962C8B-B14F-4D97-AF65-F5344CB8AC3E}">
        <p14:creationId xmlns:p14="http://schemas.microsoft.com/office/powerpoint/2010/main" val="356326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Large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7257327" y="2095500"/>
            <a:ext cx="4325074" cy="3078384"/>
          </a:xfrm>
        </p:spPr>
        <p:txBody>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382588" y="334963"/>
            <a:ext cx="6492875" cy="6157912"/>
          </a:xfrm>
        </p:spPr>
        <p:txBody>
          <a:bodyPr/>
          <a:lstStyle/>
          <a:p>
            <a:endParaRPr lang="en-US"/>
          </a:p>
        </p:txBody>
      </p:sp>
      <p:sp>
        <p:nvSpPr>
          <p:cNvPr id="8" name="Rectangle 7">
            <a:extLst>
              <a:ext uri="{FF2B5EF4-FFF2-40B4-BE49-F238E27FC236}">
                <a16:creationId xmlns:a16="http://schemas.microsoft.com/office/drawing/2014/main" id="{EB98A59D-123E-5748-BCE5-F090EB559309}"/>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14350B91-35CE-988A-5E82-9ED0929BBF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89149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p15:clr>
            <a:srgbClr val="FBAE40"/>
          </p15:clr>
        </p15:guide>
        <p15:guide id="2" pos="240">
          <p15:clr>
            <a:srgbClr val="FBAE40"/>
          </p15:clr>
        </p15:guide>
        <p15:guide id="3" orient="horz" pos="4104">
          <p15:clr>
            <a:srgbClr val="FBAE40"/>
          </p15:clr>
        </p15:guide>
        <p15:guide id="4" pos="4344">
          <p15:clr>
            <a:srgbClr val="FBAE40"/>
          </p15:clr>
        </p15:guide>
        <p15:guide id="5" pos="4560">
          <p15:clr>
            <a:srgbClr val="FBAE40"/>
          </p15:clr>
        </p15:guide>
        <p15:guide id="6" pos="7296">
          <p15:clr>
            <a:srgbClr val="FBAE40"/>
          </p15:clr>
        </p15:guide>
        <p15:guide id="7" orient="horz" pos="1320">
          <p15:clr>
            <a:srgbClr val="FBAE40"/>
          </p15:clr>
        </p15:guide>
        <p15:guide id="8" orient="horz" pos="326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Option 6">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E58B8C-779F-184B-97E6-77B9C082B6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userDrawn="1"/>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userDrawn="1"/>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FD56747C-94AA-A8D7-4CC8-F7BD2D7615D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171755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Large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7257327" y="2095500"/>
            <a:ext cx="4325074" cy="3078384"/>
          </a:xfrm>
        </p:spPr>
        <p:txBody>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382588" y="334963"/>
            <a:ext cx="6492875" cy="6157912"/>
          </a:xfrm>
        </p:spPr>
        <p:txBody>
          <a:bodyPr/>
          <a:lstStyle/>
          <a:p>
            <a:endParaRPr lang="en-US"/>
          </a:p>
        </p:txBody>
      </p:sp>
      <p:sp>
        <p:nvSpPr>
          <p:cNvPr id="8" name="Rectangle 7">
            <a:extLst>
              <a:ext uri="{FF2B5EF4-FFF2-40B4-BE49-F238E27FC236}">
                <a16:creationId xmlns:a16="http://schemas.microsoft.com/office/drawing/2014/main" id="{EB98A59D-123E-5748-BCE5-F090EB559309}"/>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9" name="Picture 11">
            <a:extLst>
              <a:ext uri="{FF2B5EF4-FFF2-40B4-BE49-F238E27FC236}">
                <a16:creationId xmlns:a16="http://schemas.microsoft.com/office/drawing/2014/main" id="{CC5DDF57-CD79-7544-842D-0682B6A4FDA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95868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userDrawn="1">
          <p15:clr>
            <a:srgbClr val="FBAE40"/>
          </p15:clr>
        </p15:guide>
        <p15:guide id="2" pos="240" userDrawn="1">
          <p15:clr>
            <a:srgbClr val="FBAE40"/>
          </p15:clr>
        </p15:guide>
        <p15:guide id="3" orient="horz" pos="4104" userDrawn="1">
          <p15:clr>
            <a:srgbClr val="FBAE40"/>
          </p15:clr>
        </p15:guide>
        <p15:guide id="4" pos="4344" userDrawn="1">
          <p15:clr>
            <a:srgbClr val="FBAE40"/>
          </p15:clr>
        </p15:guide>
        <p15:guide id="5" pos="4560" userDrawn="1">
          <p15:clr>
            <a:srgbClr val="FBAE40"/>
          </p15:clr>
        </p15:guide>
        <p15:guide id="6" pos="7296" userDrawn="1">
          <p15:clr>
            <a:srgbClr val="FBAE40"/>
          </p15:clr>
        </p15:guide>
        <p15:guide id="7" orient="horz" pos="1320" userDrawn="1">
          <p15:clr>
            <a:srgbClr val="FBAE40"/>
          </p15:clr>
        </p15:guide>
        <p15:guide id="8" orient="horz" pos="3264"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Quote with 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290524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AD640983-E937-314A-B3A2-6D94622DDCB1}"/>
              </a:ext>
            </a:extLst>
          </p:cNvPr>
          <p:cNvSpPr>
            <a:spLocks noGrp="1"/>
          </p:cNvSpPr>
          <p:nvPr>
            <p:ph type="pic" sz="quarter" idx="13"/>
          </p:nvPr>
        </p:nvSpPr>
        <p:spPr>
          <a:xfrm>
            <a:off x="1666875" y="1608138"/>
            <a:ext cx="2743200" cy="3692525"/>
          </a:xfrm>
          <a:ln w="127000">
            <a:noFill/>
            <a:miter lim="800000"/>
          </a:ln>
        </p:spPr>
        <p:txBody>
          <a:bodyPr/>
          <a:lstStyle/>
          <a:p>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4826001" y="2029493"/>
            <a:ext cx="6756400" cy="2720050"/>
          </a:xfrm>
        </p:spPr>
        <p:txBody>
          <a:bodyPr anchor="ctr" anchorCtr="0">
            <a:normAutofit/>
          </a:bodyPr>
          <a:lstStyle>
            <a:lvl1pPr marL="0" indent="0">
              <a:buNone/>
              <a:defRPr sz="3200">
                <a:latin typeface="+mj-lt"/>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4826001" y="4868696"/>
            <a:ext cx="6756400" cy="427204"/>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12" name="Rectangle 11">
            <a:extLst>
              <a:ext uri="{FF2B5EF4-FFF2-40B4-BE49-F238E27FC236}">
                <a16:creationId xmlns:a16="http://schemas.microsoft.com/office/drawing/2014/main" id="{1D9C8ABF-840F-C244-8C12-AAE9A6944A5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9BA87FFA-3859-BD9A-8CA0-C87F8800741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99114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08">
          <p15:clr>
            <a:srgbClr val="FBAE40"/>
          </p15:clr>
        </p15:guide>
        <p15:guide id="2" pos="3024">
          <p15:clr>
            <a:srgbClr val="FBAE40"/>
          </p15:clr>
        </p15:guide>
        <p15:guide id="3" pos="1056">
          <p15:clr>
            <a:srgbClr val="FBAE40"/>
          </p15:clr>
        </p15:guide>
        <p15:guide id="4" orient="horz" pos="1272">
          <p15:clr>
            <a:srgbClr val="FBAE40"/>
          </p15:clr>
        </p15:guide>
        <p15:guide id="5" orient="horz" pos="3000">
          <p15:clr>
            <a:srgbClr val="FBAE40"/>
          </p15:clr>
        </p15:guide>
        <p15:guide id="6" orient="horz" pos="3072">
          <p15:clr>
            <a:srgbClr val="FBAE40"/>
          </p15:clr>
        </p15:guide>
        <p15:guide id="7" orient="horz" pos="3336">
          <p15:clr>
            <a:srgbClr val="FBAE40"/>
          </p15:clr>
        </p15:guide>
        <p15:guide id="8" orient="horz" pos="3360">
          <p15:clr>
            <a:srgbClr val="FBAE40"/>
          </p15:clr>
        </p15:guide>
        <p15:guide id="9" pos="729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Blank with Log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5" name="Rectangle 4">
            <a:extLst>
              <a:ext uri="{FF2B5EF4-FFF2-40B4-BE49-F238E27FC236}">
                <a16:creationId xmlns:a16="http://schemas.microsoft.com/office/drawing/2014/main" id="{30F14312-84C0-444B-A37B-78B6E7600AE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3468927D-873E-6F5C-21DE-8BB60E3898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08128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Quote with 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290524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AD640983-E937-314A-B3A2-6D94622DDCB1}"/>
              </a:ext>
            </a:extLst>
          </p:cNvPr>
          <p:cNvSpPr>
            <a:spLocks noGrp="1"/>
          </p:cNvSpPr>
          <p:nvPr>
            <p:ph type="pic" sz="quarter" idx="13"/>
          </p:nvPr>
        </p:nvSpPr>
        <p:spPr>
          <a:xfrm>
            <a:off x="1666875" y="1608138"/>
            <a:ext cx="2743200" cy="3692525"/>
          </a:xfrm>
          <a:ln w="127000">
            <a:noFill/>
            <a:miter lim="800000"/>
          </a:ln>
        </p:spPr>
        <p:txBody>
          <a:bodyPr/>
          <a:lstStyle/>
          <a:p>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4826001" y="2029493"/>
            <a:ext cx="6756400" cy="2720050"/>
          </a:xfrm>
        </p:spPr>
        <p:txBody>
          <a:bodyPr anchor="ctr" anchorCtr="0">
            <a:normAutofit/>
          </a:bodyPr>
          <a:lstStyle>
            <a:lvl1pPr marL="0" indent="0">
              <a:buNone/>
              <a:defRPr sz="3200">
                <a:latin typeface="+mj-lt"/>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4826001" y="4868696"/>
            <a:ext cx="6756400" cy="427204"/>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12" name="Rectangle 11">
            <a:extLst>
              <a:ext uri="{FF2B5EF4-FFF2-40B4-BE49-F238E27FC236}">
                <a16:creationId xmlns:a16="http://schemas.microsoft.com/office/drawing/2014/main" id="{1D9C8ABF-840F-C244-8C12-AAE9A6944A5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4" name="Picture 11">
            <a:extLst>
              <a:ext uri="{FF2B5EF4-FFF2-40B4-BE49-F238E27FC236}">
                <a16:creationId xmlns:a16="http://schemas.microsoft.com/office/drawing/2014/main" id="{43298FF9-2F7F-3F4A-98D8-8D6D329B58A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332525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08" userDrawn="1">
          <p15:clr>
            <a:srgbClr val="FBAE40"/>
          </p15:clr>
        </p15:guide>
        <p15:guide id="2" pos="3024" userDrawn="1">
          <p15:clr>
            <a:srgbClr val="FBAE40"/>
          </p15:clr>
        </p15:guide>
        <p15:guide id="3" pos="1056" userDrawn="1">
          <p15:clr>
            <a:srgbClr val="FBAE40"/>
          </p15:clr>
        </p15:guide>
        <p15:guide id="4" orient="horz" pos="1272" userDrawn="1">
          <p15:clr>
            <a:srgbClr val="FBAE40"/>
          </p15:clr>
        </p15:guide>
        <p15:guide id="5" orient="horz" pos="3000" userDrawn="1">
          <p15:clr>
            <a:srgbClr val="FBAE40"/>
          </p15:clr>
        </p15:guide>
        <p15:guide id="6" orient="horz" pos="3072" userDrawn="1">
          <p15:clr>
            <a:srgbClr val="FBAE40"/>
          </p15:clr>
        </p15:guide>
        <p15:guide id="7" orient="horz" pos="3336" userDrawn="1">
          <p15:clr>
            <a:srgbClr val="FBAE40"/>
          </p15:clr>
        </p15:guide>
        <p15:guide id="8" orient="horz" pos="3360" userDrawn="1">
          <p15:clr>
            <a:srgbClr val="FBAE40"/>
          </p15:clr>
        </p15:guide>
        <p15:guide id="9" pos="7296"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1483361" y="1548050"/>
            <a:ext cx="7955280" cy="2720050"/>
          </a:xfrm>
        </p:spPr>
        <p:txBody>
          <a:bodyPr anchor="ctr" anchorCtr="0">
            <a:normAutofit/>
          </a:bodyPr>
          <a:lstStyle>
            <a:lvl1pPr marL="0" indent="0">
              <a:buNone/>
              <a:defRPr sz="3200">
                <a:latin typeface="+mj-lt"/>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1483361" y="4407218"/>
            <a:ext cx="7955280" cy="404812"/>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8" name="Rectangle 7">
            <a:extLst>
              <a:ext uri="{FF2B5EF4-FFF2-40B4-BE49-F238E27FC236}">
                <a16:creationId xmlns:a16="http://schemas.microsoft.com/office/drawing/2014/main" id="{FE7D37EF-F47E-7646-A640-53C869243F0F}"/>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2" name="Picture 11">
            <a:extLst>
              <a:ext uri="{FF2B5EF4-FFF2-40B4-BE49-F238E27FC236}">
                <a16:creationId xmlns:a16="http://schemas.microsoft.com/office/drawing/2014/main" id="{DDE0D62D-B601-6E46-A9E3-0362B8B6F22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415196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userDrawn="1">
          <p15:clr>
            <a:srgbClr val="FBAE40"/>
          </p15:clr>
        </p15:guide>
        <p15:guide id="2" pos="936" userDrawn="1">
          <p15:clr>
            <a:srgbClr val="FBAE40"/>
          </p15:clr>
        </p15:guide>
        <p15:guide id="3" pos="5952" userDrawn="1">
          <p15:clr>
            <a:srgbClr val="FBAE40"/>
          </p15:clr>
        </p15:guide>
        <p15:guide id="4" orient="horz" pos="2688" userDrawn="1">
          <p15:clr>
            <a:srgbClr val="FBAE40"/>
          </p15:clr>
        </p15:guide>
        <p15:guide id="5" orient="horz" pos="2760" userDrawn="1">
          <p15:clr>
            <a:srgbClr val="FBAE40"/>
          </p15:clr>
        </p15:guide>
        <p15:guide id="6" orient="horz" pos="3024"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Blank with Log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5" name="Rectangle 4">
            <a:extLst>
              <a:ext uri="{FF2B5EF4-FFF2-40B4-BE49-F238E27FC236}">
                <a16:creationId xmlns:a16="http://schemas.microsoft.com/office/drawing/2014/main" id="{30F14312-84C0-444B-A37B-78B6E7600AE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8" name="Picture 11">
            <a:extLst>
              <a:ext uri="{FF2B5EF4-FFF2-40B4-BE49-F238E27FC236}">
                <a16:creationId xmlns:a16="http://schemas.microsoft.com/office/drawing/2014/main" id="{AD45DE4F-CFCD-1044-9AC0-36D06466136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6616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Closing Sla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F5234B-206E-8947-ACA6-B098E14C8FB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8" name="Picture 7" descr="A picture containing drawing&#10;&#10;Description automatically generated">
            <a:extLst>
              <a:ext uri="{FF2B5EF4-FFF2-40B4-BE49-F238E27FC236}">
                <a16:creationId xmlns:a16="http://schemas.microsoft.com/office/drawing/2014/main" id="{91CC5C20-C561-D84A-8E0F-35B6B3F7F2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35264" y="2267042"/>
            <a:ext cx="3321473" cy="2323917"/>
          </a:xfrm>
          <a:prstGeom prst="rect">
            <a:avLst/>
          </a:prstGeom>
        </p:spPr>
      </p:pic>
    </p:spTree>
    <p:extLst>
      <p:ext uri="{BB962C8B-B14F-4D97-AF65-F5344CB8AC3E}">
        <p14:creationId xmlns:p14="http://schemas.microsoft.com/office/powerpoint/2010/main" val="163733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Photo / Small Quote (Gold)">
    <p:spTree>
      <p:nvGrpSpPr>
        <p:cNvPr id="1" name=""/>
        <p:cNvGrpSpPr/>
        <p:nvPr/>
      </p:nvGrpSpPr>
      <p:grpSpPr>
        <a:xfrm>
          <a:off x="0" y="0"/>
          <a:ext cx="0" cy="0"/>
          <a:chOff x="0" y="0"/>
          <a:chExt cx="0" cy="0"/>
        </a:xfrm>
      </p:grpSpPr>
      <p:sp>
        <p:nvSpPr>
          <p:cNvPr id="9" name="Rectangle 8"/>
          <p:cNvSpPr/>
          <p:nvPr userDrawn="1"/>
        </p:nvSpPr>
        <p:spPr>
          <a:xfrm>
            <a:off x="-134911" y="-89940"/>
            <a:ext cx="3097567" cy="70153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1529335" y="1422484"/>
            <a:ext cx="2866642" cy="401303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6" name="Text Placeholder 15"/>
          <p:cNvSpPr>
            <a:spLocks noGrp="1"/>
          </p:cNvSpPr>
          <p:nvPr>
            <p:ph type="body" sz="quarter" idx="13" hasCustomPrompt="1"/>
          </p:nvPr>
        </p:nvSpPr>
        <p:spPr>
          <a:xfrm>
            <a:off x="5321508" y="1422484"/>
            <a:ext cx="6206572" cy="3228343"/>
          </a:xfrm>
        </p:spPr>
        <p:txBody>
          <a:bodyPr anchor="ctr">
            <a:normAutofit/>
          </a:bodyPr>
          <a:lstStyle>
            <a:lvl1pPr marL="0" indent="0">
              <a:lnSpc>
                <a:spcPct val="100000"/>
              </a:lnSpc>
              <a:buNone/>
              <a:defRPr sz="2800">
                <a:latin typeface="+mj-lt"/>
              </a:defRPr>
            </a:lvl1pPr>
            <a:lvl2pPr marL="182880" indent="0">
              <a:spcBef>
                <a:spcPts val="3500"/>
              </a:spcBef>
              <a:buNone/>
              <a:defRPr i="1">
                <a:latin typeface="+mj-lt"/>
              </a:defRPr>
            </a:lvl2pPr>
          </a:lstStyle>
          <a:p>
            <a:pPr lvl="0"/>
            <a:r>
              <a:rPr lang="en-US"/>
              <a:t>“Quote.”</a:t>
            </a:r>
          </a:p>
        </p:txBody>
      </p:sp>
      <p:sp>
        <p:nvSpPr>
          <p:cNvPr id="4" name="Text Placeholder 3"/>
          <p:cNvSpPr>
            <a:spLocks noGrp="1"/>
          </p:cNvSpPr>
          <p:nvPr>
            <p:ph type="body" sz="quarter" idx="15" hasCustomPrompt="1"/>
          </p:nvPr>
        </p:nvSpPr>
        <p:spPr>
          <a:xfrm>
            <a:off x="5321300" y="4929352"/>
            <a:ext cx="6207125" cy="506248"/>
          </a:xfrm>
        </p:spPr>
        <p:txBody>
          <a:bodyPr>
            <a:normAutofit/>
          </a:bodyPr>
          <a:lstStyle>
            <a:lvl1pPr marL="4763" indent="0">
              <a:lnSpc>
                <a:spcPct val="100000"/>
              </a:lnSpc>
              <a:spcBef>
                <a:spcPts val="0"/>
              </a:spcBef>
              <a:buNone/>
              <a:tabLst/>
              <a:defRPr sz="1600" spc="100" baseline="0">
                <a:solidFill>
                  <a:schemeClr val="tx2">
                    <a:lumMod val="75000"/>
                    <a:lumOff val="25000"/>
                  </a:schemeClr>
                </a:solidFill>
                <a:latin typeface="+mj-lt"/>
              </a:defRPr>
            </a:lvl1pPr>
            <a:lvl2pPr marL="4763" indent="0">
              <a:lnSpc>
                <a:spcPct val="100000"/>
              </a:lnSpc>
              <a:spcBef>
                <a:spcPts val="0"/>
              </a:spcBef>
              <a:buNone/>
              <a:tabLst/>
              <a:defRPr sz="1600" i="1">
                <a:solidFill>
                  <a:schemeClr val="tx2">
                    <a:lumMod val="50000"/>
                    <a:lumOff val="50000"/>
                  </a:schemeClr>
                </a:solidFill>
                <a:latin typeface="+mj-lt"/>
              </a:defRPr>
            </a:lvl2pPr>
          </a:lstStyle>
          <a:p>
            <a:pPr lvl="0"/>
            <a:r>
              <a:rPr lang="en-US"/>
              <a:t>NAME</a:t>
            </a:r>
          </a:p>
          <a:p>
            <a:pPr lvl="1"/>
            <a:r>
              <a:rPr lang="en-US"/>
              <a:t>Attribution</a:t>
            </a:r>
          </a:p>
        </p:txBody>
      </p:sp>
      <p:sp>
        <p:nvSpPr>
          <p:cNvPr id="10" name="Slide Number Placeholder 5">
            <a:extLst>
              <a:ext uri="{FF2B5EF4-FFF2-40B4-BE49-F238E27FC236}">
                <a16:creationId xmlns:a16="http://schemas.microsoft.com/office/drawing/2014/main" id="{E26A8BBF-3621-614E-A8BD-63CAF9A756D3}"/>
              </a:ext>
            </a:extLst>
          </p:cNvPr>
          <p:cNvSpPr>
            <a:spLocks noGrp="1"/>
          </p:cNvSpPr>
          <p:nvPr>
            <p:ph type="sldNum" sz="quarter" idx="4"/>
          </p:nvPr>
        </p:nvSpPr>
        <p:spPr>
          <a:xfrm>
            <a:off x="879966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93C2FB-EF86-FD49-89EB-659751C15892}" type="slidenum">
              <a:rPr lang="en-US" smtClean="0"/>
              <a:t>‹#›</a:t>
            </a:fld>
            <a:endParaRPr lang="en-US"/>
          </a:p>
        </p:txBody>
      </p:sp>
      <p:sp>
        <p:nvSpPr>
          <p:cNvPr id="8" name="Rectangle 7">
            <a:extLst>
              <a:ext uri="{FF2B5EF4-FFF2-40B4-BE49-F238E27FC236}">
                <a16:creationId xmlns:a16="http://schemas.microsoft.com/office/drawing/2014/main" id="{BE74E902-04FB-F74E-8524-8E36EEAF268C}"/>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12" name="Picture 11">
            <a:extLst>
              <a:ext uri="{FF2B5EF4-FFF2-40B4-BE49-F238E27FC236}">
                <a16:creationId xmlns:a16="http://schemas.microsoft.com/office/drawing/2014/main" id="{9FE5B02F-84B2-374D-A5F1-4AEF59DF765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extLst>
      <p:ext uri="{BB962C8B-B14F-4D97-AF65-F5344CB8AC3E}">
        <p14:creationId xmlns:p14="http://schemas.microsoft.com/office/powerpoint/2010/main" val="310703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Option 1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3C990-91EF-DB46-9027-FA2760C960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036" y="-27432"/>
            <a:ext cx="12206036" cy="6885432"/>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57504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626BC9CF-C5C7-19C0-E4BC-F30A5B0798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25293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A71ED6BF-F047-F643-BADC-3C6C752935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35683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pos="7296" userDrawn="1">
          <p15:clr>
            <a:srgbClr val="FBAE40"/>
          </p15:clr>
        </p15:guide>
        <p15:guide id="4" orient="horz" pos="391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umn_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D253C39-5D5C-0942-AF66-9A859B40953B}"/>
              </a:ext>
            </a:extLst>
          </p:cNvPr>
          <p:cNvSpPr>
            <a:spLocks noGrp="1"/>
          </p:cNvSpPr>
          <p:nvPr>
            <p:ph type="body" sz="quarter" idx="13"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4" name="Graphic 3">
            <a:extLst>
              <a:ext uri="{FF2B5EF4-FFF2-40B4-BE49-F238E27FC236}">
                <a16:creationId xmlns:a16="http://schemas.microsoft.com/office/drawing/2014/main" id="{90B7DE28-5581-D231-8115-332BCBBA55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5416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5CBDB16C-FCE1-654B-A8B0-03B0C3BDA997}"/>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0" name="Text Placeholder 6">
            <a:extLst>
              <a:ext uri="{FF2B5EF4-FFF2-40B4-BE49-F238E27FC236}">
                <a16:creationId xmlns:a16="http://schemas.microsoft.com/office/drawing/2014/main" id="{373B8F32-84C1-6145-9135-8814C97CD21F}"/>
              </a:ext>
            </a:extLst>
          </p:cNvPr>
          <p:cNvSpPr>
            <a:spLocks noGrp="1"/>
          </p:cNvSpPr>
          <p:nvPr>
            <p:ph type="body" sz="quarter" idx="13"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27F8071D-62CF-B3AA-6EB8-2933D34072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26613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2" name="Straight Connector 11">
            <a:extLst>
              <a:ext uri="{FF2B5EF4-FFF2-40B4-BE49-F238E27FC236}">
                <a16:creationId xmlns:a16="http://schemas.microsoft.com/office/drawing/2014/main" id="{A790DA94-B1B1-F540-B236-89961D005175}"/>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5149A5D1-1E27-3449-8A9D-C212D7E5C4B3}"/>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9C87D7E4-C7D3-33A6-C205-BF49A873BF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2BE70B37-3F9A-3305-0A74-CDF42EA6BE51}"/>
              </a:ext>
            </a:extLst>
          </p:cNvPr>
          <p:cNvSpPr>
            <a:spLocks noGrp="1"/>
          </p:cNvSpPr>
          <p:nvPr>
            <p:ph sz="half" idx="13"/>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Tree>
    <p:extLst>
      <p:ext uri="{BB962C8B-B14F-4D97-AF65-F5344CB8AC3E}">
        <p14:creationId xmlns:p14="http://schemas.microsoft.com/office/powerpoint/2010/main" val="107132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orient="horz" pos="3912" userDrawn="1">
          <p15:clr>
            <a:srgbClr val="FBAE40"/>
          </p15:clr>
        </p15:guide>
        <p15:guide id="4" pos="729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3" name="Title 1">
            <a:extLst>
              <a:ext uri="{FF2B5EF4-FFF2-40B4-BE49-F238E27FC236}">
                <a16:creationId xmlns:a16="http://schemas.microsoft.com/office/drawing/2014/main" id="{386B9C39-3930-0642-8851-75ED3365A378}"/>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4A91B707-11BE-AD43-B13E-0FAB91299C64}"/>
              </a:ext>
            </a:extLst>
          </p:cNvPr>
          <p:cNvSpPr>
            <a:spLocks noGrp="1"/>
          </p:cNvSpPr>
          <p:nvPr>
            <p:ph type="body" sz="quarter" idx="14"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CDE0278F-90F4-C614-C834-B4489B3CCF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8BB31BBF-CD76-C911-5539-E6C5D413F9C5}"/>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Tree>
    <p:extLst>
      <p:ext uri="{BB962C8B-B14F-4D97-AF65-F5344CB8AC3E}">
        <p14:creationId xmlns:p14="http://schemas.microsoft.com/office/powerpoint/2010/main" val="383259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userDrawn="1"/>
        </p:nvPicPr>
        <p:blipFill>
          <a:blip r:embed="rId2">
            <a:alphaModFix amt="35000"/>
          </a:blip>
          <a:stretch>
            <a:fillRect/>
          </a:stretch>
        </p:blipFill>
        <p:spPr>
          <a:xfrm>
            <a:off x="2782206"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1"/>
                </a:solidFill>
                <a:latin typeface="+mj-lt"/>
                <a:cs typeface="Calibri" panose="020F0502020204030204" pitchFamily="34" charset="0"/>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31E2702E-14ED-A049-8014-3B70633791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3111" y="740314"/>
            <a:ext cx="2220647" cy="1553708"/>
          </a:xfrm>
          <a:prstGeom prst="rect">
            <a:avLst/>
          </a:prstGeom>
        </p:spPr>
      </p:pic>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1"/>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spTree>
    <p:extLst>
      <p:ext uri="{BB962C8B-B14F-4D97-AF65-F5344CB8AC3E}">
        <p14:creationId xmlns:p14="http://schemas.microsoft.com/office/powerpoint/2010/main" val="245025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2501A62-76E2-DD4B-90E6-E5FE9B329DA3}"/>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45DAB394-EDF1-5D48-920C-20021D8EF0C6}"/>
              </a:ext>
            </a:extLst>
          </p:cNvPr>
          <p:cNvSpPr>
            <a:spLocks noGrp="1"/>
          </p:cNvSpPr>
          <p:nvPr>
            <p:ph type="body" sz="quarter" idx="14"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FA73EDE9-E753-AC30-F3A1-835BB1888EB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DFEC7BE1-8207-53F3-6D92-94A74605FA06}"/>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Tree>
    <p:extLst>
      <p:ext uri="{BB962C8B-B14F-4D97-AF65-F5344CB8AC3E}">
        <p14:creationId xmlns:p14="http://schemas.microsoft.com/office/powerpoint/2010/main" val="74540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5" name="Straight Connector 14">
            <a:extLst>
              <a:ext uri="{FF2B5EF4-FFF2-40B4-BE49-F238E27FC236}">
                <a16:creationId xmlns:a16="http://schemas.microsoft.com/office/drawing/2014/main" id="{7E721B0F-1544-B342-8ED3-E88A03FB306F}"/>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45F7755-2DA8-0A4A-B346-37B838F8FADB}"/>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35654BFD-DB60-606E-0651-61D9A7EC8F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5772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pos="7296" userDrawn="1">
          <p15:clr>
            <a:srgbClr val="FBAE40"/>
          </p15:clr>
        </p15:guide>
        <p15:guide id="4" orient="horz" pos="391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_Subhea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6" name="Title 1">
            <a:extLst>
              <a:ext uri="{FF2B5EF4-FFF2-40B4-BE49-F238E27FC236}">
                <a16:creationId xmlns:a16="http://schemas.microsoft.com/office/drawing/2014/main" id="{43832153-8289-6948-9B14-0F51FAF7A04F}"/>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C4BF11BC-523B-124E-8A1E-C9ADCE3E1B4E}"/>
              </a:ext>
            </a:extLst>
          </p:cNvPr>
          <p:cNvSpPr>
            <a:spLocks noGrp="1"/>
          </p:cNvSpPr>
          <p:nvPr>
            <p:ph type="body" sz="quarter" idx="15"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D3BDBEED-4242-B3D2-0C81-52E8F6D36C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82561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_Subhead 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7BB336AE-C178-AC43-84E5-33C29412B255}"/>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5" name="Text Placeholder 6">
            <a:extLst>
              <a:ext uri="{FF2B5EF4-FFF2-40B4-BE49-F238E27FC236}">
                <a16:creationId xmlns:a16="http://schemas.microsoft.com/office/drawing/2014/main" id="{53D86292-7698-6646-8991-2844CE386BCF}"/>
              </a:ext>
            </a:extLst>
          </p:cNvPr>
          <p:cNvSpPr>
            <a:spLocks noGrp="1"/>
          </p:cNvSpPr>
          <p:nvPr>
            <p:ph type="body" sz="quarter" idx="15"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03816E19-81FB-E44B-A0FC-08B5482069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22835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kinny Photo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0" name="Title 1">
            <a:extLst>
              <a:ext uri="{FF2B5EF4-FFF2-40B4-BE49-F238E27FC236}">
                <a16:creationId xmlns:a16="http://schemas.microsoft.com/office/drawing/2014/main" id="{99D72E9D-EE6F-134E-B5A9-2FB8729C96F7}"/>
              </a:ext>
            </a:extLst>
          </p:cNvPr>
          <p:cNvSpPr>
            <a:spLocks noGrp="1"/>
          </p:cNvSpPr>
          <p:nvPr>
            <p:ph type="title"/>
          </p:nvPr>
        </p:nvSpPr>
        <p:spPr>
          <a:xfrm>
            <a:off x="4724399" y="175095"/>
            <a:ext cx="5009909" cy="1020827"/>
          </a:xfrm>
        </p:spPr>
        <p:txBody>
          <a:bodyPr anchor="b" anchorCtr="0"/>
          <a:lstStyle>
            <a:lvl1pPr>
              <a:defRPr sz="3200"/>
            </a:lvl1pPr>
          </a:lstStyle>
          <a:p>
            <a:r>
              <a:rPr lang="en-US"/>
              <a:t>Click to edit Master title</a:t>
            </a: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2DF696C-F86A-E6FD-52C3-E5DBA17269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809623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kinny Photo Left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49EA303-5278-A449-9440-6A0F1B3BBD5F}"/>
              </a:ext>
            </a:extLst>
          </p:cNvPr>
          <p:cNvSpPr>
            <a:spLocks noGrp="1"/>
          </p:cNvSpPr>
          <p:nvPr>
            <p:ph type="title"/>
          </p:nvPr>
        </p:nvSpPr>
        <p:spPr>
          <a:xfrm>
            <a:off x="4724400" y="325120"/>
            <a:ext cx="5354320" cy="568960"/>
          </a:xfrm>
        </p:spPr>
        <p:txBody>
          <a:bodyPr anchor="b" anchorCtr="0"/>
          <a:lstStyle>
            <a:lvl1pPr>
              <a:defRPr sz="3200"/>
            </a:lvl1pPr>
          </a:lstStyle>
          <a:p>
            <a:r>
              <a:rPr lang="en-US"/>
              <a:t>Click to edit Master title</a:t>
            </a:r>
          </a:p>
        </p:txBody>
      </p:sp>
      <p:sp>
        <p:nvSpPr>
          <p:cNvPr id="14" name="Text Placeholder 6">
            <a:extLst>
              <a:ext uri="{FF2B5EF4-FFF2-40B4-BE49-F238E27FC236}">
                <a16:creationId xmlns:a16="http://schemas.microsoft.com/office/drawing/2014/main" id="{EDDC8735-3449-B949-BDF8-6A201B956E3C}"/>
              </a:ext>
            </a:extLst>
          </p:cNvPr>
          <p:cNvSpPr>
            <a:spLocks noGrp="1"/>
          </p:cNvSpPr>
          <p:nvPr>
            <p:ph type="body" sz="quarter" idx="14" hasCustomPrompt="1"/>
          </p:nvPr>
        </p:nvSpPr>
        <p:spPr>
          <a:xfrm>
            <a:off x="4724400" y="965200"/>
            <a:ext cx="53752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6021EEE9-C726-9AEB-F8C8-BFE321119D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63903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userDrawn="1">
          <p15:clr>
            <a:srgbClr val="FBAE40"/>
          </p15:clr>
        </p15:guide>
        <p15:guide id="2" pos="384" userDrawn="1">
          <p15:clr>
            <a:srgbClr val="FBAE40"/>
          </p15:clr>
        </p15:guide>
        <p15:guide id="3" pos="2784" userDrawn="1">
          <p15:clr>
            <a:srgbClr val="FBAE40"/>
          </p15:clr>
        </p15:guide>
        <p15:guide id="4" orient="horz" pos="984" userDrawn="1">
          <p15:clr>
            <a:srgbClr val="FBAE40"/>
          </p15:clr>
        </p15:guide>
        <p15:guide id="5" pos="2976" userDrawn="1">
          <p15:clr>
            <a:srgbClr val="FBAE40"/>
          </p15:clr>
        </p15:guide>
        <p15:guide id="6" pos="729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kinny Photo Left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endParaRPr lang="en-US"/>
          </a:p>
        </p:txBody>
      </p:sp>
      <p:sp>
        <p:nvSpPr>
          <p:cNvPr id="8" name="Rectangle 7">
            <a:extLst>
              <a:ext uri="{FF2B5EF4-FFF2-40B4-BE49-F238E27FC236}">
                <a16:creationId xmlns:a16="http://schemas.microsoft.com/office/drawing/2014/main" id="{424C16E0-92CF-6F41-9635-C97091D349D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userDrawn="1"/>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3DC57D1-818A-3B48-9EFC-82C14F8DA905}"/>
              </a:ext>
            </a:extLst>
          </p:cNvPr>
          <p:cNvSpPr>
            <a:spLocks noGrp="1"/>
          </p:cNvSpPr>
          <p:nvPr>
            <p:ph type="title"/>
          </p:nvPr>
        </p:nvSpPr>
        <p:spPr>
          <a:xfrm>
            <a:off x="4724400" y="274320"/>
            <a:ext cx="5354320" cy="426720"/>
          </a:xfrm>
        </p:spPr>
        <p:txBody>
          <a:bodyPr anchor="b" anchorCtr="0"/>
          <a:lstStyle>
            <a:lvl1pPr>
              <a:defRPr sz="3200"/>
            </a:lvl1pPr>
          </a:lstStyle>
          <a:p>
            <a:r>
              <a:rPr lang="en-US"/>
              <a:t>Click to edit Master title</a:t>
            </a:r>
          </a:p>
        </p:txBody>
      </p:sp>
      <p:sp>
        <p:nvSpPr>
          <p:cNvPr id="13" name="Text Placeholder 6">
            <a:extLst>
              <a:ext uri="{FF2B5EF4-FFF2-40B4-BE49-F238E27FC236}">
                <a16:creationId xmlns:a16="http://schemas.microsoft.com/office/drawing/2014/main" id="{676E6F74-E1C4-B548-9A47-4B556FD86281}"/>
              </a:ext>
            </a:extLst>
          </p:cNvPr>
          <p:cNvSpPr>
            <a:spLocks noGrp="1"/>
          </p:cNvSpPr>
          <p:nvPr>
            <p:ph type="body" sz="quarter" idx="14" hasCustomPrompt="1"/>
          </p:nvPr>
        </p:nvSpPr>
        <p:spPr>
          <a:xfrm>
            <a:off x="4733506" y="792480"/>
            <a:ext cx="5366169"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ECD6FAC8-E1F2-F235-5D9C-4C9B705CDB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16060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kinny Photo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endParaRPr lang="en-US"/>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9" name="Title 1">
            <a:extLst>
              <a:ext uri="{FF2B5EF4-FFF2-40B4-BE49-F238E27FC236}">
                <a16:creationId xmlns:a16="http://schemas.microsoft.com/office/drawing/2014/main" id="{7B831997-046F-B544-A9DE-9D1534FA6084}"/>
              </a:ext>
            </a:extLst>
          </p:cNvPr>
          <p:cNvSpPr>
            <a:spLocks noGrp="1"/>
          </p:cNvSpPr>
          <p:nvPr>
            <p:ph type="title"/>
          </p:nvPr>
        </p:nvSpPr>
        <p:spPr>
          <a:xfrm>
            <a:off x="609600" y="175095"/>
            <a:ext cx="6896100" cy="1020827"/>
          </a:xfrm>
        </p:spPr>
        <p:txBody>
          <a:bodyPr anchor="b" anchorCtr="0"/>
          <a:lstStyle>
            <a:lvl1pPr>
              <a:defRPr sz="3200"/>
            </a:lvl1pPr>
          </a:lstStyle>
          <a:p>
            <a:r>
              <a:rPr lang="en-US"/>
              <a:t>Click to edit Master title style</a:t>
            </a:r>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04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4" orient="horz" pos="3912" userDrawn="1">
          <p15:clr>
            <a:srgbClr val="FBAE40"/>
          </p15:clr>
        </p15:guide>
        <p15:guide id="5" pos="4728" userDrawn="1">
          <p15:clr>
            <a:srgbClr val="FBAE40"/>
          </p15:clr>
        </p15:guide>
        <p15:guide id="6" pos="4896" userDrawn="1">
          <p15:clr>
            <a:srgbClr val="FBAE40"/>
          </p15:clr>
        </p15:guide>
        <p15:guide id="7" pos="7296"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kinny Photo Right_Subhea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endParaRPr lang="en-US"/>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054A52C-27BC-0341-BC40-DC426058B22F}"/>
              </a:ext>
            </a:extLst>
          </p:cNvPr>
          <p:cNvSpPr>
            <a:spLocks noGrp="1"/>
          </p:cNvSpPr>
          <p:nvPr>
            <p:ph type="title"/>
          </p:nvPr>
        </p:nvSpPr>
        <p:spPr>
          <a:xfrm>
            <a:off x="609600" y="325120"/>
            <a:ext cx="6896100" cy="56896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D82369CF-5403-4E40-8CD7-4FFD11F5C557}"/>
              </a:ext>
            </a:extLst>
          </p:cNvPr>
          <p:cNvSpPr>
            <a:spLocks noGrp="1"/>
          </p:cNvSpPr>
          <p:nvPr>
            <p:ph type="body" sz="quarter" idx="14" hasCustomPrompt="1"/>
          </p:nvPr>
        </p:nvSpPr>
        <p:spPr>
          <a:xfrm>
            <a:off x="609601" y="965200"/>
            <a:ext cx="6896100"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spTree>
    <p:extLst>
      <p:ext uri="{BB962C8B-B14F-4D97-AF65-F5344CB8AC3E}">
        <p14:creationId xmlns:p14="http://schemas.microsoft.com/office/powerpoint/2010/main" val="274041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kinny Photo Right_Subhead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endParaRPr lang="en-US"/>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E1529B8E-E21A-8543-BDAB-7D936F152680}"/>
              </a:ext>
            </a:extLst>
          </p:cNvPr>
          <p:cNvSpPr>
            <a:spLocks noGrp="1"/>
          </p:cNvSpPr>
          <p:nvPr>
            <p:ph type="title"/>
          </p:nvPr>
        </p:nvSpPr>
        <p:spPr>
          <a:xfrm>
            <a:off x="609600" y="274320"/>
            <a:ext cx="6880873" cy="426720"/>
          </a:xfrm>
        </p:spPr>
        <p:txBody>
          <a:bodyPr anchor="b" anchorCtr="0"/>
          <a:lstStyle>
            <a:lvl1pPr>
              <a:defRPr sz="3200"/>
            </a:lvl1pPr>
          </a:lstStyle>
          <a:p>
            <a:r>
              <a:rPr lang="en-US"/>
              <a:t>Click to edit Master title style</a:t>
            </a:r>
          </a:p>
        </p:txBody>
      </p:sp>
      <p:sp>
        <p:nvSpPr>
          <p:cNvPr id="9" name="Text Placeholder 6">
            <a:extLst>
              <a:ext uri="{FF2B5EF4-FFF2-40B4-BE49-F238E27FC236}">
                <a16:creationId xmlns:a16="http://schemas.microsoft.com/office/drawing/2014/main" id="{F9701E11-0FE4-7548-B605-B4E42F271401}"/>
              </a:ext>
            </a:extLst>
          </p:cNvPr>
          <p:cNvSpPr>
            <a:spLocks noGrp="1"/>
          </p:cNvSpPr>
          <p:nvPr>
            <p:ph type="body" sz="quarter" idx="14" hasCustomPrompt="1"/>
          </p:nvPr>
        </p:nvSpPr>
        <p:spPr>
          <a:xfrm>
            <a:off x="609601" y="792480"/>
            <a:ext cx="6896100"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spTree>
    <p:extLst>
      <p:ext uri="{BB962C8B-B14F-4D97-AF65-F5344CB8AC3E}">
        <p14:creationId xmlns:p14="http://schemas.microsoft.com/office/powerpoint/2010/main" val="252154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Rectangle 1"/>
          <p:cNvSpPr/>
          <p:nvPr userDrawn="1"/>
        </p:nvSpPr>
        <p:spPr>
          <a:xfrm>
            <a:off x="-269823" y="-149902"/>
            <a:ext cx="12726649" cy="71503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88307" y="2269759"/>
            <a:ext cx="2815386" cy="1971241"/>
          </a:xfrm>
          <a:prstGeom prst="rect">
            <a:avLst/>
          </a:prstGeom>
        </p:spPr>
      </p:pic>
    </p:spTree>
    <p:extLst>
      <p:ext uri="{BB962C8B-B14F-4D97-AF65-F5344CB8AC3E}">
        <p14:creationId xmlns:p14="http://schemas.microsoft.com/office/powerpoint/2010/main" val="122148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7257327" y="2095500"/>
            <a:ext cx="4325074" cy="3078384"/>
          </a:xfrm>
        </p:spPr>
        <p:txBody>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382588" y="334963"/>
            <a:ext cx="6492875" cy="6157912"/>
          </a:xfrm>
        </p:spPr>
        <p:txBody>
          <a:bodyPr/>
          <a:lstStyle/>
          <a:p>
            <a:endParaRPr lang="en-US"/>
          </a:p>
        </p:txBody>
      </p:sp>
      <p:sp>
        <p:nvSpPr>
          <p:cNvPr id="8" name="Rectangle 7">
            <a:extLst>
              <a:ext uri="{FF2B5EF4-FFF2-40B4-BE49-F238E27FC236}">
                <a16:creationId xmlns:a16="http://schemas.microsoft.com/office/drawing/2014/main" id="{EB98A59D-123E-5748-BCE5-F090EB559309}"/>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14350B91-35CE-988A-5E82-9ED0929BBF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95868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userDrawn="1">
          <p15:clr>
            <a:srgbClr val="FBAE40"/>
          </p15:clr>
        </p15:guide>
        <p15:guide id="2" pos="240" userDrawn="1">
          <p15:clr>
            <a:srgbClr val="FBAE40"/>
          </p15:clr>
        </p15:guide>
        <p15:guide id="3" orient="horz" pos="4104" userDrawn="1">
          <p15:clr>
            <a:srgbClr val="FBAE40"/>
          </p15:clr>
        </p15:guide>
        <p15:guide id="4" pos="4344" userDrawn="1">
          <p15:clr>
            <a:srgbClr val="FBAE40"/>
          </p15:clr>
        </p15:guide>
        <p15:guide id="5" pos="4560" userDrawn="1">
          <p15:clr>
            <a:srgbClr val="FBAE40"/>
          </p15:clr>
        </p15:guide>
        <p15:guide id="6" pos="7296" userDrawn="1">
          <p15:clr>
            <a:srgbClr val="FBAE40"/>
          </p15:clr>
        </p15:guide>
        <p15:guide id="7" orient="horz" pos="1320" userDrawn="1">
          <p15:clr>
            <a:srgbClr val="FBAE40"/>
          </p15:clr>
        </p15:guide>
        <p15:guide id="8" orient="horz" pos="3264"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Photo Righ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5278680" y="334963"/>
            <a:ext cx="6492875" cy="6157912"/>
          </a:xfrm>
        </p:spPr>
        <p:txBody>
          <a:bodyPr/>
          <a:lstStyle/>
          <a:p>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803396"/>
            <a:ext cx="4300921" cy="3092696"/>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4398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userDrawn="1">
          <p15:clr>
            <a:srgbClr val="FBAE40"/>
          </p15:clr>
        </p15:guide>
        <p15:guide id="2" pos="384" userDrawn="1">
          <p15:clr>
            <a:srgbClr val="FBAE40"/>
          </p15:clr>
        </p15:guide>
        <p15:guide id="3" orient="horz" pos="4104" userDrawn="1">
          <p15:clr>
            <a:srgbClr val="FBAE40"/>
          </p15:clr>
        </p15:guide>
        <p15:guide id="4" pos="3096" userDrawn="1">
          <p15:clr>
            <a:srgbClr val="FBAE40"/>
          </p15:clr>
        </p15:guide>
        <p15:guide id="5" pos="3312" userDrawn="1">
          <p15:clr>
            <a:srgbClr val="FBAE40"/>
          </p15:clr>
        </p15:guide>
        <p15:guide id="6" pos="7416" userDrawn="1">
          <p15:clr>
            <a:srgbClr val="FBAE40"/>
          </p15:clr>
        </p15:guide>
        <p15:guide id="7" orient="horz" pos="1128" userDrawn="1">
          <p15:clr>
            <a:srgbClr val="FBAE40"/>
          </p15:clr>
        </p15:guide>
        <p15:guide id="8" orient="horz" pos="3096"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Slide Option 2">
    <p:spTree>
      <p:nvGrpSpPr>
        <p:cNvPr id="1" name=""/>
        <p:cNvGrpSpPr/>
        <p:nvPr/>
      </p:nvGrpSpPr>
      <p:grpSpPr>
        <a:xfrm>
          <a:off x="0" y="0"/>
          <a:ext cx="0" cy="0"/>
          <a:chOff x="0" y="0"/>
          <a:chExt cx="0" cy="0"/>
        </a:xfrm>
      </p:grpSpPr>
      <p:pic>
        <p:nvPicPr>
          <p:cNvPr id="10" name="Picture 9" descr="A group of people around each other&#10;&#10;Description automatically generated">
            <a:extLst>
              <a:ext uri="{FF2B5EF4-FFF2-40B4-BE49-F238E27FC236}">
                <a16:creationId xmlns:a16="http://schemas.microsoft.com/office/drawing/2014/main" id="{46E58B8C-779F-184B-97E6-77B9C082B6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7EE6BAF-86B0-E654-40C3-B24271A543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306734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Op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60552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AD5B4C1B-8876-3431-273A-2A183C6649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355410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Option 6">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E58B8C-779F-184B-97E6-77B9C082B6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FD56747C-94AA-A8D7-4CC8-F7BD2D7615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369734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Option 1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3C990-91EF-DB46-9027-FA2760C960B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4036" y="-27432"/>
            <a:ext cx="12206036" cy="6885432"/>
          </a:xfrm>
          <a:prstGeom prst="rect">
            <a:avLst/>
          </a:prstGeom>
        </p:spPr>
      </p:pic>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57504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626BC9CF-C5C7-19C0-E4BC-F30A5B0798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94696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p:nvPicPr>
        <p:blipFill>
          <a:blip r:embed="rId2">
            <a:alphaModFix amt="35000"/>
          </a:blip>
          <a:stretch>
            <a:fillRect/>
          </a:stretch>
        </p:blipFill>
        <p:spPr>
          <a:xfrm>
            <a:off x="2780780"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759554" cy="1312075"/>
          </a:xfrm>
        </p:spPr>
        <p:txBody>
          <a:bodyPr anchor="b" anchorCtr="0"/>
          <a:lstStyle>
            <a:lvl1pPr algn="l">
              <a:defRPr sz="4800" b="0" i="0">
                <a:solidFill>
                  <a:schemeClr val="bg2">
                    <a:lumMod val="25000"/>
                  </a:schemeClr>
                </a:solidFill>
                <a:latin typeface="+mj-lt"/>
                <a:ea typeface="Roboto Slab Thin"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759554"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F46D4E3C-7F9C-880F-4424-22C22CA606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226546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One Column_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D253C39-5D5C-0942-AF66-9A859B40953B}"/>
              </a:ext>
            </a:extLst>
          </p:cNvPr>
          <p:cNvSpPr>
            <a:spLocks noGrp="1"/>
          </p:cNvSpPr>
          <p:nvPr>
            <p:ph type="body" sz="quarter" idx="13"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4" name="Graphic 3">
            <a:extLst>
              <a:ext uri="{FF2B5EF4-FFF2-40B4-BE49-F238E27FC236}">
                <a16:creationId xmlns:a16="http://schemas.microsoft.com/office/drawing/2014/main" id="{90B7DE28-5581-D231-8115-332BCBBA55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8" name="Rectangle 7">
            <a:extLst>
              <a:ext uri="{FF2B5EF4-FFF2-40B4-BE49-F238E27FC236}">
                <a16:creationId xmlns:a16="http://schemas.microsoft.com/office/drawing/2014/main" id="{548337B1-E69B-F5F0-A30A-E3661DF3B8F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9" name="Straight Connector 8">
            <a:extLst>
              <a:ext uri="{FF2B5EF4-FFF2-40B4-BE49-F238E27FC236}">
                <a16:creationId xmlns:a16="http://schemas.microsoft.com/office/drawing/2014/main" id="{0F34A7FC-CDAD-A8D9-229C-EC9B63E8AAC5}"/>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443C73D5-BAE5-3E25-81A0-19B55D8995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7398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One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5CBDB16C-FCE1-654B-A8B0-03B0C3BDA997}"/>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0" name="Text Placeholder 6">
            <a:extLst>
              <a:ext uri="{FF2B5EF4-FFF2-40B4-BE49-F238E27FC236}">
                <a16:creationId xmlns:a16="http://schemas.microsoft.com/office/drawing/2014/main" id="{373B8F32-84C1-6145-9135-8814C97CD21F}"/>
              </a:ext>
            </a:extLst>
          </p:cNvPr>
          <p:cNvSpPr>
            <a:spLocks noGrp="1"/>
          </p:cNvSpPr>
          <p:nvPr>
            <p:ph type="body" sz="quarter" idx="13"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27F8071D-62CF-B3AA-6EB8-2933D340721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Rectangle 3">
            <a:extLst>
              <a:ext uri="{FF2B5EF4-FFF2-40B4-BE49-F238E27FC236}">
                <a16:creationId xmlns:a16="http://schemas.microsoft.com/office/drawing/2014/main" id="{71E6C3D7-22B2-9778-1AD4-FEC79D6DE95C}"/>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7" name="Straight Connector 6">
            <a:extLst>
              <a:ext uri="{FF2B5EF4-FFF2-40B4-BE49-F238E27FC236}">
                <a16:creationId xmlns:a16="http://schemas.microsoft.com/office/drawing/2014/main" id="{53D023E8-F59D-FE78-9DF7-2419FC8613C3}"/>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C91742B5-147F-8629-BCA9-B02D036E0D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61180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2" name="Straight Connector 11">
            <a:extLst>
              <a:ext uri="{FF2B5EF4-FFF2-40B4-BE49-F238E27FC236}">
                <a16:creationId xmlns:a16="http://schemas.microsoft.com/office/drawing/2014/main" id="{A790DA94-B1B1-F540-B236-89961D005175}"/>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5149A5D1-1E27-3449-8A9D-C212D7E5C4B3}"/>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9C87D7E4-C7D3-33A6-C205-BF49A873BF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2BE70B37-3F9A-3305-0A74-CDF42EA6BE51}"/>
              </a:ext>
            </a:extLst>
          </p:cNvPr>
          <p:cNvSpPr>
            <a:spLocks noGrp="1"/>
          </p:cNvSpPr>
          <p:nvPr>
            <p:ph sz="half" idx="13"/>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69372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3932DE-E5D4-BC4D-BF53-046E2F877CF3}"/>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5" name="Picture 11">
            <a:extLst>
              <a:ext uri="{FF2B5EF4-FFF2-40B4-BE49-F238E27FC236}">
                <a16:creationId xmlns:a16="http://schemas.microsoft.com/office/drawing/2014/main" id="{CCE1327B-D819-4F42-A28E-6506B8207F5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51873" y="273396"/>
            <a:ext cx="1162948" cy="811722"/>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lumn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3" name="Title 1">
            <a:extLst>
              <a:ext uri="{FF2B5EF4-FFF2-40B4-BE49-F238E27FC236}">
                <a16:creationId xmlns:a16="http://schemas.microsoft.com/office/drawing/2014/main" id="{386B9C39-3930-0642-8851-75ED3365A378}"/>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4A91B707-11BE-AD43-B13E-0FAB91299C64}"/>
              </a:ext>
            </a:extLst>
          </p:cNvPr>
          <p:cNvSpPr>
            <a:spLocks noGrp="1"/>
          </p:cNvSpPr>
          <p:nvPr>
            <p:ph type="body" sz="quarter" idx="14"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CDE0278F-90F4-C614-C834-B4489B3CCF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8BB31BBF-CD76-C911-5539-E6C5D413F9C5}"/>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317247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2501A62-76E2-DD4B-90E6-E5FE9B329DA3}"/>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45DAB394-EDF1-5D48-920C-20021D8EF0C6}"/>
              </a:ext>
            </a:extLst>
          </p:cNvPr>
          <p:cNvSpPr>
            <a:spLocks noGrp="1"/>
          </p:cNvSpPr>
          <p:nvPr>
            <p:ph type="body" sz="quarter" idx="14"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FA73EDE9-E753-AC30-F3A1-835BB1888E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DFEC7BE1-8207-53F3-6D92-94A74605FA06}"/>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2457191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5" name="Straight Connector 14">
            <a:extLst>
              <a:ext uri="{FF2B5EF4-FFF2-40B4-BE49-F238E27FC236}">
                <a16:creationId xmlns:a16="http://schemas.microsoft.com/office/drawing/2014/main" id="{7E721B0F-1544-B342-8ED3-E88A03FB306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45F7755-2DA8-0A4A-B346-37B838F8FADB}"/>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35654BFD-DB60-606E-0651-61D9A7EC8F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46694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Column_Subhea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6" name="Title 1">
            <a:extLst>
              <a:ext uri="{FF2B5EF4-FFF2-40B4-BE49-F238E27FC236}">
                <a16:creationId xmlns:a16="http://schemas.microsoft.com/office/drawing/2014/main" id="{43832153-8289-6948-9B14-0F51FAF7A04F}"/>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C4BF11BC-523B-124E-8A1E-C9ADCE3E1B4E}"/>
              </a:ext>
            </a:extLst>
          </p:cNvPr>
          <p:cNvSpPr>
            <a:spLocks noGrp="1"/>
          </p:cNvSpPr>
          <p:nvPr>
            <p:ph type="body" sz="quarter" idx="15"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D3BDBEED-4242-B3D2-0C81-52E8F6D36C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59474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Column_Subhead 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7BB336AE-C178-AC43-84E5-33C29412B255}"/>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5" name="Text Placeholder 6">
            <a:extLst>
              <a:ext uri="{FF2B5EF4-FFF2-40B4-BE49-F238E27FC236}">
                <a16:creationId xmlns:a16="http://schemas.microsoft.com/office/drawing/2014/main" id="{53D86292-7698-6646-8991-2844CE386BCF}"/>
              </a:ext>
            </a:extLst>
          </p:cNvPr>
          <p:cNvSpPr>
            <a:spLocks noGrp="1"/>
          </p:cNvSpPr>
          <p:nvPr>
            <p:ph type="body" sz="quarter" idx="15"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03816E19-81FB-E44B-A0FC-08B5482069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38035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kinny Photo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0" name="Title 1">
            <a:extLst>
              <a:ext uri="{FF2B5EF4-FFF2-40B4-BE49-F238E27FC236}">
                <a16:creationId xmlns:a16="http://schemas.microsoft.com/office/drawing/2014/main" id="{99D72E9D-EE6F-134E-B5A9-2FB8729C96F7}"/>
              </a:ext>
            </a:extLst>
          </p:cNvPr>
          <p:cNvSpPr>
            <a:spLocks noGrp="1"/>
          </p:cNvSpPr>
          <p:nvPr>
            <p:ph type="title"/>
          </p:nvPr>
        </p:nvSpPr>
        <p:spPr>
          <a:xfrm>
            <a:off x="4724399" y="175095"/>
            <a:ext cx="5009909" cy="1020827"/>
          </a:xfrm>
        </p:spPr>
        <p:txBody>
          <a:bodyPr anchor="b" anchorCtr="0"/>
          <a:lstStyle>
            <a:lvl1pPr>
              <a:defRPr sz="3200"/>
            </a:lvl1pPr>
          </a:lstStyle>
          <a:p>
            <a:r>
              <a:rPr lang="en-US"/>
              <a:t>Click to edit Master title style</a:t>
            </a: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2DF696C-F86A-E6FD-52C3-E5DBA17269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97851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kinny Photo Left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49EA303-5278-A449-9440-6A0F1B3BBD5F}"/>
              </a:ext>
            </a:extLst>
          </p:cNvPr>
          <p:cNvSpPr>
            <a:spLocks noGrp="1"/>
          </p:cNvSpPr>
          <p:nvPr>
            <p:ph type="title"/>
          </p:nvPr>
        </p:nvSpPr>
        <p:spPr>
          <a:xfrm>
            <a:off x="4724400" y="325120"/>
            <a:ext cx="5354320" cy="568960"/>
          </a:xfrm>
        </p:spPr>
        <p:txBody>
          <a:bodyPr anchor="b" anchorCtr="0"/>
          <a:lstStyle>
            <a:lvl1pPr>
              <a:defRPr sz="3200"/>
            </a:lvl1pPr>
          </a:lstStyle>
          <a:p>
            <a:r>
              <a:rPr lang="en-US"/>
              <a:t>Click to edit Master title style</a:t>
            </a:r>
          </a:p>
        </p:txBody>
      </p:sp>
      <p:sp>
        <p:nvSpPr>
          <p:cNvPr id="14" name="Text Placeholder 6">
            <a:extLst>
              <a:ext uri="{FF2B5EF4-FFF2-40B4-BE49-F238E27FC236}">
                <a16:creationId xmlns:a16="http://schemas.microsoft.com/office/drawing/2014/main" id="{EDDC8735-3449-B949-BDF8-6A201B956E3C}"/>
              </a:ext>
            </a:extLst>
          </p:cNvPr>
          <p:cNvSpPr>
            <a:spLocks noGrp="1"/>
          </p:cNvSpPr>
          <p:nvPr>
            <p:ph type="body" sz="quarter" idx="14" hasCustomPrompt="1"/>
          </p:nvPr>
        </p:nvSpPr>
        <p:spPr>
          <a:xfrm>
            <a:off x="4724400" y="965200"/>
            <a:ext cx="53752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6021EEE9-C726-9AEB-F8C8-BFE321119D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09345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kinny Photo Left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3DC57D1-818A-3B48-9EFC-82C14F8DA905}"/>
              </a:ext>
            </a:extLst>
          </p:cNvPr>
          <p:cNvSpPr>
            <a:spLocks noGrp="1"/>
          </p:cNvSpPr>
          <p:nvPr>
            <p:ph type="title"/>
          </p:nvPr>
        </p:nvSpPr>
        <p:spPr>
          <a:xfrm>
            <a:off x="4724400" y="274320"/>
            <a:ext cx="5354320" cy="426720"/>
          </a:xfrm>
        </p:spPr>
        <p:txBody>
          <a:bodyPr anchor="b" anchorCtr="0"/>
          <a:lstStyle>
            <a:lvl1pPr>
              <a:defRPr sz="3200"/>
            </a:lvl1pPr>
          </a:lstStyle>
          <a:p>
            <a:r>
              <a:rPr lang="en-US"/>
              <a:t>Click to edit Master title style</a:t>
            </a:r>
          </a:p>
        </p:txBody>
      </p:sp>
      <p:sp>
        <p:nvSpPr>
          <p:cNvPr id="13" name="Text Placeholder 6">
            <a:extLst>
              <a:ext uri="{FF2B5EF4-FFF2-40B4-BE49-F238E27FC236}">
                <a16:creationId xmlns:a16="http://schemas.microsoft.com/office/drawing/2014/main" id="{676E6F74-E1C4-B548-9A47-4B556FD86281}"/>
              </a:ext>
            </a:extLst>
          </p:cNvPr>
          <p:cNvSpPr>
            <a:spLocks noGrp="1"/>
          </p:cNvSpPr>
          <p:nvPr>
            <p:ph type="body" sz="quarter" idx="14" hasCustomPrompt="1"/>
          </p:nvPr>
        </p:nvSpPr>
        <p:spPr>
          <a:xfrm>
            <a:off x="4733506" y="792480"/>
            <a:ext cx="5366169"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ECD6FAC8-E1F2-F235-5D9C-4C9B705CDBF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64758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A71ED6BF-F047-F643-BADC-3C6C752935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7" name="Rectangle 6">
            <a:extLst>
              <a:ext uri="{FF2B5EF4-FFF2-40B4-BE49-F238E27FC236}">
                <a16:creationId xmlns:a16="http://schemas.microsoft.com/office/drawing/2014/main" id="{DA2AB1E8-101F-C7AB-4A52-7F5AD23CBC2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8" name="Straight Connector 7">
            <a:extLst>
              <a:ext uri="{FF2B5EF4-FFF2-40B4-BE49-F238E27FC236}">
                <a16:creationId xmlns:a16="http://schemas.microsoft.com/office/drawing/2014/main" id="{0272BE83-690B-3FBE-A6A9-1E6F6EC0AA71}"/>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DA8FFC9C-8C94-AEB8-1D02-389DDF57D0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5897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984" userDrawn="1">
          <p15:clr>
            <a:srgbClr val="FBAE40"/>
          </p15:clr>
        </p15:guide>
        <p15:guide id="6" pos="384" userDrawn="1">
          <p15:clr>
            <a:srgbClr val="FBAE40"/>
          </p15:clr>
        </p15:guide>
        <p15:guide id="7" pos="7296" userDrawn="1">
          <p15:clr>
            <a:srgbClr val="FBAE40"/>
          </p15:clr>
        </p15:guide>
        <p15:guide id="8" orient="horz" pos="391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kinny Photo Right_Subhea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054A52C-27BC-0341-BC40-DC426058B22F}"/>
              </a:ext>
            </a:extLst>
          </p:cNvPr>
          <p:cNvSpPr>
            <a:spLocks noGrp="1"/>
          </p:cNvSpPr>
          <p:nvPr>
            <p:ph type="title"/>
          </p:nvPr>
        </p:nvSpPr>
        <p:spPr>
          <a:xfrm>
            <a:off x="609600" y="325120"/>
            <a:ext cx="6896100" cy="56896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D82369CF-5403-4E40-8CD7-4FFD11F5C557}"/>
              </a:ext>
            </a:extLst>
          </p:cNvPr>
          <p:cNvSpPr>
            <a:spLocks noGrp="1"/>
          </p:cNvSpPr>
          <p:nvPr>
            <p:ph type="body" sz="quarter" idx="14" hasCustomPrompt="1"/>
          </p:nvPr>
        </p:nvSpPr>
        <p:spPr>
          <a:xfrm>
            <a:off x="609601" y="965200"/>
            <a:ext cx="6896100"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spTree>
    <p:extLst>
      <p:ext uri="{BB962C8B-B14F-4D97-AF65-F5344CB8AC3E}">
        <p14:creationId xmlns:p14="http://schemas.microsoft.com/office/powerpoint/2010/main" val="329032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lank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153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kinny Photo Right_Subhead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E1529B8E-E21A-8543-BDAB-7D936F152680}"/>
              </a:ext>
            </a:extLst>
          </p:cNvPr>
          <p:cNvSpPr>
            <a:spLocks noGrp="1"/>
          </p:cNvSpPr>
          <p:nvPr>
            <p:ph type="title"/>
          </p:nvPr>
        </p:nvSpPr>
        <p:spPr>
          <a:xfrm>
            <a:off x="609600" y="274320"/>
            <a:ext cx="6880873" cy="426720"/>
          </a:xfrm>
        </p:spPr>
        <p:txBody>
          <a:bodyPr anchor="b" anchorCtr="0"/>
          <a:lstStyle>
            <a:lvl1pPr>
              <a:defRPr sz="3200"/>
            </a:lvl1pPr>
          </a:lstStyle>
          <a:p>
            <a:r>
              <a:rPr lang="en-US"/>
              <a:t>Click to edit Master title style</a:t>
            </a:r>
          </a:p>
        </p:txBody>
      </p:sp>
      <p:sp>
        <p:nvSpPr>
          <p:cNvPr id="9" name="Text Placeholder 6">
            <a:extLst>
              <a:ext uri="{FF2B5EF4-FFF2-40B4-BE49-F238E27FC236}">
                <a16:creationId xmlns:a16="http://schemas.microsoft.com/office/drawing/2014/main" id="{F9701E11-0FE4-7548-B605-B4E42F271401}"/>
              </a:ext>
            </a:extLst>
          </p:cNvPr>
          <p:cNvSpPr>
            <a:spLocks noGrp="1"/>
          </p:cNvSpPr>
          <p:nvPr>
            <p:ph type="body" sz="quarter" idx="14" hasCustomPrompt="1"/>
          </p:nvPr>
        </p:nvSpPr>
        <p:spPr>
          <a:xfrm>
            <a:off x="609601" y="792480"/>
            <a:ext cx="6896100"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spTree>
    <p:extLst>
      <p:ext uri="{BB962C8B-B14F-4D97-AF65-F5344CB8AC3E}">
        <p14:creationId xmlns:p14="http://schemas.microsoft.com/office/powerpoint/2010/main" val="160051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arge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7257327" y="2095500"/>
            <a:ext cx="4325074" cy="3078384"/>
          </a:xfrm>
        </p:spPr>
        <p:txBody>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382588" y="334963"/>
            <a:ext cx="6492875" cy="6157912"/>
          </a:xfrm>
        </p:spPr>
        <p:txBody>
          <a:bodyPr/>
          <a:lstStyle/>
          <a:p>
            <a:r>
              <a:rPr lang="en-US"/>
              <a:t>Click icon to add picture</a:t>
            </a:r>
          </a:p>
        </p:txBody>
      </p:sp>
      <p:sp>
        <p:nvSpPr>
          <p:cNvPr id="8" name="Rectangle 7">
            <a:extLst>
              <a:ext uri="{FF2B5EF4-FFF2-40B4-BE49-F238E27FC236}">
                <a16:creationId xmlns:a16="http://schemas.microsoft.com/office/drawing/2014/main" id="{EB98A59D-123E-5748-BCE5-F090EB559309}"/>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14350B91-35CE-988A-5E82-9ED0929BBF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97306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p15:clr>
            <a:srgbClr val="FBAE40"/>
          </p15:clr>
        </p15:guide>
        <p15:guide id="2" pos="240">
          <p15:clr>
            <a:srgbClr val="FBAE40"/>
          </p15:clr>
        </p15:guide>
        <p15:guide id="3" orient="horz" pos="4104">
          <p15:clr>
            <a:srgbClr val="FBAE40"/>
          </p15:clr>
        </p15:guide>
        <p15:guide id="4" pos="4344">
          <p15:clr>
            <a:srgbClr val="FBAE40"/>
          </p15:clr>
        </p15:guide>
        <p15:guide id="5" pos="4560">
          <p15:clr>
            <a:srgbClr val="FBAE40"/>
          </p15:clr>
        </p15:guide>
        <p15:guide id="6" pos="7296">
          <p15:clr>
            <a:srgbClr val="FBAE40"/>
          </p15:clr>
        </p15:guide>
        <p15:guide id="7" orient="horz" pos="1320">
          <p15:clr>
            <a:srgbClr val="FBAE40"/>
          </p15:clr>
        </p15:guide>
        <p15:guide id="8" orient="horz" pos="326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Large Photo Righ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5278680" y="334963"/>
            <a:ext cx="6492875" cy="6157912"/>
          </a:xfrm>
        </p:spPr>
        <p:txBody>
          <a:bodyPr/>
          <a:lstStyle/>
          <a:p>
            <a:r>
              <a:rPr lang="en-US"/>
              <a:t>Click icon to add picture</a:t>
            </a:r>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803396"/>
            <a:ext cx="4300921" cy="3092696"/>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427268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2">
          <p15:clr>
            <a:srgbClr val="FBAE40"/>
          </p15:clr>
        </p15:guide>
        <p15:guide id="2" pos="384">
          <p15:clr>
            <a:srgbClr val="FBAE40"/>
          </p15:clr>
        </p15:guide>
        <p15:guide id="3" orient="horz" pos="4104">
          <p15:clr>
            <a:srgbClr val="FBAE40"/>
          </p15:clr>
        </p15:guide>
        <p15:guide id="4" pos="3096">
          <p15:clr>
            <a:srgbClr val="FBAE40"/>
          </p15:clr>
        </p15:guide>
        <p15:guide id="5" pos="3312">
          <p15:clr>
            <a:srgbClr val="FBAE40"/>
          </p15:clr>
        </p15:guide>
        <p15:guide id="6" pos="7416">
          <p15:clr>
            <a:srgbClr val="FBAE40"/>
          </p15:clr>
        </p15:guide>
        <p15:guide id="7" orient="horz" pos="1128">
          <p15:clr>
            <a:srgbClr val="FBAE40"/>
          </p15:clr>
        </p15:guide>
        <p15:guide id="8" orient="horz" pos="309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2">
            <a:lumMod val="25000"/>
          </a:schemeClr>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622B734-346C-A938-5518-B6039C2208F5}"/>
              </a:ext>
            </a:extLst>
          </p:cNvPr>
          <p:cNvSpPr>
            <a:spLocks noGrp="1"/>
          </p:cNvSpPr>
          <p:nvPr>
            <p:ph type="body" sz="quarter" idx="10"/>
          </p:nvPr>
        </p:nvSpPr>
        <p:spPr>
          <a:xfrm>
            <a:off x="1503363" y="1147763"/>
            <a:ext cx="8940800" cy="4176712"/>
          </a:xfrm>
        </p:spPr>
        <p:txBody>
          <a:bodyPr/>
          <a:lstStyle>
            <a:lvl1pPr marL="0" indent="0" algn="ctr">
              <a:buNone/>
              <a:defRPr sz="2800">
                <a:solidFill>
                  <a:schemeClr val="bg1"/>
                </a:solidFill>
                <a:latin typeface="+mn-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1" name="Text Placeholder 10">
            <a:extLst>
              <a:ext uri="{FF2B5EF4-FFF2-40B4-BE49-F238E27FC236}">
                <a16:creationId xmlns:a16="http://schemas.microsoft.com/office/drawing/2014/main" id="{09F8B6C5-BE26-96AB-9D43-0A3A3AAB9726}"/>
              </a:ext>
            </a:extLst>
          </p:cNvPr>
          <p:cNvSpPr>
            <a:spLocks noGrp="1"/>
          </p:cNvSpPr>
          <p:nvPr>
            <p:ph type="body" sz="quarter" idx="11" hasCustomPrompt="1"/>
          </p:nvPr>
        </p:nvSpPr>
        <p:spPr>
          <a:xfrm>
            <a:off x="1503363" y="5597525"/>
            <a:ext cx="8940800" cy="752475"/>
          </a:xfrm>
        </p:spPr>
        <p:txBody>
          <a:bodyPr/>
          <a:lstStyle>
            <a:lvl1pPr marL="0" indent="0" algn="ctr">
              <a:buNone/>
              <a:defRPr sz="2000">
                <a:solidFill>
                  <a:schemeClr val="bg2">
                    <a:lumMod val="75000"/>
                  </a:schemeClr>
                </a:solidFill>
              </a:defRPr>
            </a:lvl1pPr>
          </a:lstStyle>
          <a:p>
            <a:pPr lvl="0"/>
            <a:r>
              <a:rPr lang="en-US" sz="2400"/>
              <a:t>— Attribution</a:t>
            </a:r>
            <a:endParaRPr lang="en-US"/>
          </a:p>
        </p:txBody>
      </p:sp>
    </p:spTree>
    <p:extLst>
      <p:ext uri="{BB962C8B-B14F-4D97-AF65-F5344CB8AC3E}">
        <p14:creationId xmlns:p14="http://schemas.microsoft.com/office/powerpoint/2010/main" val="284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2">
            <a:lumMod val="25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26AB21F-2F30-1FE3-6171-BBD7CF60AA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64076" y="5247481"/>
            <a:ext cx="1463848" cy="911171"/>
          </a:xfrm>
          <a:prstGeom prst="rect">
            <a:avLst/>
          </a:prstGeom>
        </p:spPr>
      </p:pic>
      <p:sp>
        <p:nvSpPr>
          <p:cNvPr id="3" name="Text Placeholder 2">
            <a:extLst>
              <a:ext uri="{FF2B5EF4-FFF2-40B4-BE49-F238E27FC236}">
                <a16:creationId xmlns:a16="http://schemas.microsoft.com/office/drawing/2014/main" id="{A04D791E-D2A2-4EAA-F215-B538380A1461}"/>
              </a:ext>
            </a:extLst>
          </p:cNvPr>
          <p:cNvSpPr>
            <a:spLocks noGrp="1"/>
          </p:cNvSpPr>
          <p:nvPr>
            <p:ph type="body" sz="quarter" idx="10" hasCustomPrompt="1"/>
          </p:nvPr>
        </p:nvSpPr>
        <p:spPr>
          <a:xfrm>
            <a:off x="4419600" y="1708970"/>
            <a:ext cx="3352800" cy="276998"/>
          </a:xfrm>
        </p:spPr>
        <p:txBody>
          <a:bodyPr/>
          <a:lstStyle>
            <a:lvl1pPr marL="0" indent="0" algn="ctr">
              <a:buNone/>
              <a:defRPr sz="1400" b="1" spc="300">
                <a:solidFill>
                  <a:schemeClr val="bg2">
                    <a:lumMod val="75000"/>
                  </a:schemeClr>
                </a:solidFill>
              </a:defRPr>
            </a:lvl1pPr>
          </a:lstStyle>
          <a:p>
            <a:pPr lvl="0"/>
            <a:r>
              <a:rPr lang="en-US"/>
              <a:t>SECTION NUMBER</a:t>
            </a:r>
          </a:p>
        </p:txBody>
      </p:sp>
      <p:sp>
        <p:nvSpPr>
          <p:cNvPr id="5" name="Text Placeholder 4">
            <a:extLst>
              <a:ext uri="{FF2B5EF4-FFF2-40B4-BE49-F238E27FC236}">
                <a16:creationId xmlns:a16="http://schemas.microsoft.com/office/drawing/2014/main" id="{A5CA1E4D-1417-8192-DFA9-A11BEB5F03B4}"/>
              </a:ext>
            </a:extLst>
          </p:cNvPr>
          <p:cNvSpPr>
            <a:spLocks noGrp="1"/>
          </p:cNvSpPr>
          <p:nvPr>
            <p:ph type="body" sz="quarter" idx="11" hasCustomPrompt="1"/>
          </p:nvPr>
        </p:nvSpPr>
        <p:spPr>
          <a:xfrm>
            <a:off x="1290638" y="2148687"/>
            <a:ext cx="9844087" cy="911171"/>
          </a:xfrm>
        </p:spPr>
        <p:txBody>
          <a:bodyPr/>
          <a:lstStyle>
            <a:lvl1pPr marL="0" indent="0" algn="ctr">
              <a:buNone/>
              <a:defRPr sz="4800" b="0" i="0">
                <a:solidFill>
                  <a:schemeClr val="bg1"/>
                </a:solidFill>
                <a:latin typeface="Roboto Slab Light" pitchFamily="2" charset="0"/>
                <a:ea typeface="Roboto Slab Light" pitchFamily="2" charset="0"/>
              </a:defRPr>
            </a:lvl1pPr>
          </a:lstStyle>
          <a:p>
            <a:pPr lvl="0"/>
            <a:r>
              <a:rPr lang="en-US"/>
              <a:t>Section Title</a:t>
            </a:r>
          </a:p>
        </p:txBody>
      </p:sp>
    </p:spTree>
    <p:extLst>
      <p:ext uri="{BB962C8B-B14F-4D97-AF65-F5344CB8AC3E}">
        <p14:creationId xmlns:p14="http://schemas.microsoft.com/office/powerpoint/2010/main" val="165774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290524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AD640983-E937-314A-B3A2-6D94622DDCB1}"/>
              </a:ext>
            </a:extLst>
          </p:cNvPr>
          <p:cNvSpPr>
            <a:spLocks noGrp="1"/>
          </p:cNvSpPr>
          <p:nvPr>
            <p:ph type="pic" sz="quarter" idx="13"/>
          </p:nvPr>
        </p:nvSpPr>
        <p:spPr>
          <a:xfrm>
            <a:off x="1666875" y="1608138"/>
            <a:ext cx="2743200" cy="3692525"/>
          </a:xfrm>
          <a:ln w="127000">
            <a:noFill/>
            <a:miter lim="800000"/>
          </a:ln>
        </p:spPr>
        <p:txBody>
          <a:bodyPr/>
          <a:lstStyle/>
          <a:p>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4826001" y="2029493"/>
            <a:ext cx="675640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4826001" y="4868696"/>
            <a:ext cx="6756400" cy="427204"/>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12" name="Rectangle 11">
            <a:extLst>
              <a:ext uri="{FF2B5EF4-FFF2-40B4-BE49-F238E27FC236}">
                <a16:creationId xmlns:a16="http://schemas.microsoft.com/office/drawing/2014/main" id="{1D9C8ABF-840F-C244-8C12-AAE9A6944A58}"/>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9BA87FFA-3859-BD9A-8CA0-C87F8800741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32525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08" userDrawn="1">
          <p15:clr>
            <a:srgbClr val="FBAE40"/>
          </p15:clr>
        </p15:guide>
        <p15:guide id="2" pos="3024" userDrawn="1">
          <p15:clr>
            <a:srgbClr val="FBAE40"/>
          </p15:clr>
        </p15:guide>
        <p15:guide id="3" pos="1056" userDrawn="1">
          <p15:clr>
            <a:srgbClr val="FBAE40"/>
          </p15:clr>
        </p15:guide>
        <p15:guide id="4" orient="horz" pos="1272" userDrawn="1">
          <p15:clr>
            <a:srgbClr val="FBAE40"/>
          </p15:clr>
        </p15:guide>
        <p15:guide id="5" orient="horz" pos="3000" userDrawn="1">
          <p15:clr>
            <a:srgbClr val="FBAE40"/>
          </p15:clr>
        </p15:guide>
        <p15:guide id="6" orient="horz" pos="3072" userDrawn="1">
          <p15:clr>
            <a:srgbClr val="FBAE40"/>
          </p15:clr>
        </p15:guide>
        <p15:guide id="7" orient="horz" pos="3336" userDrawn="1">
          <p15:clr>
            <a:srgbClr val="FBAE40"/>
          </p15:clr>
        </p15:guide>
        <p15:guide id="8" orient="horz" pos="3360" userDrawn="1">
          <p15:clr>
            <a:srgbClr val="FBAE40"/>
          </p15:clr>
        </p15:guide>
        <p15:guide id="9" pos="7296"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1483361" y="1548050"/>
            <a:ext cx="795528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1483361" y="4407218"/>
            <a:ext cx="7955280" cy="404812"/>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8" name="Rectangle 7">
            <a:extLst>
              <a:ext uri="{FF2B5EF4-FFF2-40B4-BE49-F238E27FC236}">
                <a16:creationId xmlns:a16="http://schemas.microsoft.com/office/drawing/2014/main" id="{FE7D37EF-F47E-7646-A640-53C869243F0F}"/>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75A77745-9FC9-1412-00DF-C2B78475905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15196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userDrawn="1">
          <p15:clr>
            <a:srgbClr val="FBAE40"/>
          </p15:clr>
        </p15:guide>
        <p15:guide id="2" pos="936" userDrawn="1">
          <p15:clr>
            <a:srgbClr val="FBAE40"/>
          </p15:clr>
        </p15:guide>
        <p15:guide id="3" pos="5952" userDrawn="1">
          <p15:clr>
            <a:srgbClr val="FBAE40"/>
          </p15:clr>
        </p15:guide>
        <p15:guide id="4" orient="horz" pos="2688" userDrawn="1">
          <p15:clr>
            <a:srgbClr val="FBAE40"/>
          </p15:clr>
        </p15:guide>
        <p15:guide id="5" orient="horz" pos="2760" userDrawn="1">
          <p15:clr>
            <a:srgbClr val="FBAE40"/>
          </p15:clr>
        </p15:guide>
        <p15:guide id="6" orient="horz" pos="3024"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5" name="Rectangle 4">
            <a:extLst>
              <a:ext uri="{FF2B5EF4-FFF2-40B4-BE49-F238E27FC236}">
                <a16:creationId xmlns:a16="http://schemas.microsoft.com/office/drawing/2014/main" id="{30F14312-84C0-444B-A37B-78B6E7600AE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3468927D-873E-6F5C-21DE-8BB60E3898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6616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Blank">
    <p:bg>
      <p:bgPr>
        <a:solidFill>
          <a:schemeClr val="bg2">
            <a:lumMod val="25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26AB21F-2F30-1FE3-6171-BBD7CF60AA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64076" y="5247481"/>
            <a:ext cx="1463848" cy="911171"/>
          </a:xfrm>
          <a:prstGeom prst="rect">
            <a:avLst/>
          </a:prstGeom>
        </p:spPr>
      </p:pic>
      <p:sp>
        <p:nvSpPr>
          <p:cNvPr id="3" name="Text Placeholder 2">
            <a:extLst>
              <a:ext uri="{FF2B5EF4-FFF2-40B4-BE49-F238E27FC236}">
                <a16:creationId xmlns:a16="http://schemas.microsoft.com/office/drawing/2014/main" id="{A04D791E-D2A2-4EAA-F215-B538380A1461}"/>
              </a:ext>
            </a:extLst>
          </p:cNvPr>
          <p:cNvSpPr>
            <a:spLocks noGrp="1"/>
          </p:cNvSpPr>
          <p:nvPr>
            <p:ph type="body" sz="quarter" idx="10" hasCustomPrompt="1"/>
          </p:nvPr>
        </p:nvSpPr>
        <p:spPr>
          <a:xfrm>
            <a:off x="4419600" y="1708970"/>
            <a:ext cx="3352800" cy="276998"/>
          </a:xfrm>
        </p:spPr>
        <p:txBody>
          <a:bodyPr/>
          <a:lstStyle>
            <a:lvl1pPr marL="0" indent="0" algn="ctr">
              <a:buNone/>
              <a:defRPr sz="1400" b="1" spc="300">
                <a:solidFill>
                  <a:schemeClr val="bg2">
                    <a:lumMod val="75000"/>
                  </a:schemeClr>
                </a:solidFill>
              </a:defRPr>
            </a:lvl1pPr>
          </a:lstStyle>
          <a:p>
            <a:pPr lvl="0"/>
            <a:r>
              <a:rPr lang="en-US"/>
              <a:t>SECTION NUMBER</a:t>
            </a:r>
          </a:p>
        </p:txBody>
      </p:sp>
      <p:sp>
        <p:nvSpPr>
          <p:cNvPr id="5" name="Text Placeholder 4">
            <a:extLst>
              <a:ext uri="{FF2B5EF4-FFF2-40B4-BE49-F238E27FC236}">
                <a16:creationId xmlns:a16="http://schemas.microsoft.com/office/drawing/2014/main" id="{A5CA1E4D-1417-8192-DFA9-A11BEB5F03B4}"/>
              </a:ext>
            </a:extLst>
          </p:cNvPr>
          <p:cNvSpPr>
            <a:spLocks noGrp="1"/>
          </p:cNvSpPr>
          <p:nvPr>
            <p:ph type="body" sz="quarter" idx="11" hasCustomPrompt="1"/>
          </p:nvPr>
        </p:nvSpPr>
        <p:spPr>
          <a:xfrm>
            <a:off x="1290638" y="2148687"/>
            <a:ext cx="9844087" cy="911171"/>
          </a:xfrm>
        </p:spPr>
        <p:txBody>
          <a:bodyPr/>
          <a:lstStyle>
            <a:lvl1pPr marL="0" indent="0" algn="ctr">
              <a:buNone/>
              <a:defRPr sz="4800" b="0" i="0">
                <a:solidFill>
                  <a:schemeClr val="bg1"/>
                </a:solidFill>
                <a:latin typeface="Roboto Slab Light" pitchFamily="2" charset="0"/>
                <a:ea typeface="Roboto Slab Light" pitchFamily="2" charset="0"/>
              </a:defRPr>
            </a:lvl1pPr>
          </a:lstStyle>
          <a:p>
            <a:pPr lvl="0"/>
            <a:r>
              <a:rPr lang="en-US"/>
              <a:t>Section Title</a:t>
            </a:r>
          </a:p>
        </p:txBody>
      </p:sp>
    </p:spTree>
    <p:extLst>
      <p:ext uri="{BB962C8B-B14F-4D97-AF65-F5344CB8AC3E}">
        <p14:creationId xmlns:p14="http://schemas.microsoft.com/office/powerpoint/2010/main" val="421946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p:nvSpPr>
        <p:spPr>
          <a:xfrm>
            <a:off x="0" y="0"/>
            <a:ext cx="290524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AD640983-E937-314A-B3A2-6D94622DDCB1}"/>
              </a:ext>
            </a:extLst>
          </p:cNvPr>
          <p:cNvSpPr>
            <a:spLocks noGrp="1"/>
          </p:cNvSpPr>
          <p:nvPr>
            <p:ph type="pic" sz="quarter" idx="13"/>
          </p:nvPr>
        </p:nvSpPr>
        <p:spPr>
          <a:xfrm>
            <a:off x="1666875" y="1608138"/>
            <a:ext cx="2743200" cy="3692525"/>
          </a:xfrm>
          <a:ln w="127000">
            <a:noFill/>
            <a:miter lim="800000"/>
          </a:ln>
        </p:spPr>
        <p:txBody>
          <a:bodyPr/>
          <a:lstStyle/>
          <a:p>
            <a:r>
              <a:rPr lang="en-US"/>
              <a:t>Click icon to add picture</a:t>
            </a:r>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4826001" y="2029493"/>
            <a:ext cx="675640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4826001" y="4868696"/>
            <a:ext cx="6756400" cy="427204"/>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12" name="Rectangle 11">
            <a:extLst>
              <a:ext uri="{FF2B5EF4-FFF2-40B4-BE49-F238E27FC236}">
                <a16:creationId xmlns:a16="http://schemas.microsoft.com/office/drawing/2014/main" id="{1D9C8ABF-840F-C244-8C12-AAE9A6944A5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9BA87FFA-3859-BD9A-8CA0-C87F8800741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8465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08">
          <p15:clr>
            <a:srgbClr val="FBAE40"/>
          </p15:clr>
        </p15:guide>
        <p15:guide id="2" pos="3024">
          <p15:clr>
            <a:srgbClr val="FBAE40"/>
          </p15:clr>
        </p15:guide>
        <p15:guide id="3" pos="1056">
          <p15:clr>
            <a:srgbClr val="FBAE40"/>
          </p15:clr>
        </p15:guide>
        <p15:guide id="4" orient="horz" pos="1272">
          <p15:clr>
            <a:srgbClr val="FBAE40"/>
          </p15:clr>
        </p15:guide>
        <p15:guide id="5" orient="horz" pos="3000">
          <p15:clr>
            <a:srgbClr val="FBAE40"/>
          </p15:clr>
        </p15:guide>
        <p15:guide id="6" orient="horz" pos="3072">
          <p15:clr>
            <a:srgbClr val="FBAE40"/>
          </p15:clr>
        </p15:guide>
        <p15:guide id="7" orient="horz" pos="3336">
          <p15:clr>
            <a:srgbClr val="FBAE40"/>
          </p15:clr>
        </p15:guide>
        <p15:guide id="8" orient="horz" pos="3360">
          <p15:clr>
            <a:srgbClr val="FBAE40"/>
          </p15:clr>
        </p15:guide>
        <p15:guide id="9" pos="72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95C8DC-9014-C540-98C5-01AB2B8B1FA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7F7B15E-A04E-5549-9C4D-50F46029B8E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CD2C889-B335-5A4D-B4B7-8F0050AFDCE4}"/>
              </a:ext>
            </a:extLst>
          </p:cNvPr>
          <p:cNvSpPr>
            <a:spLocks noGrp="1"/>
          </p:cNvSpPr>
          <p:nvPr>
            <p:ph type="sldNum" sz="quarter" idx="12"/>
          </p:nvPr>
        </p:nvSpPr>
        <p:spPr/>
        <p:txBody>
          <a:bodyPr/>
          <a:lstStyle/>
          <a:p>
            <a:fld id="{C6665974-E1B7-A94A-85EF-DE1149FD678C}" type="slidenum">
              <a:rPr lang="en-US" smtClean="0"/>
              <a:t>‹#›</a:t>
            </a:fld>
            <a:endParaRPr lang="en-US"/>
          </a:p>
        </p:txBody>
      </p:sp>
    </p:spTree>
    <p:extLst>
      <p:ext uri="{BB962C8B-B14F-4D97-AF65-F5344CB8AC3E}">
        <p14:creationId xmlns:p14="http://schemas.microsoft.com/office/powerpoint/2010/main" val="32414918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kinny Photo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9" name="Title 1">
            <a:extLst>
              <a:ext uri="{FF2B5EF4-FFF2-40B4-BE49-F238E27FC236}">
                <a16:creationId xmlns:a16="http://schemas.microsoft.com/office/drawing/2014/main" id="{7B831997-046F-B544-A9DE-9D1534FA6084}"/>
              </a:ext>
            </a:extLst>
          </p:cNvPr>
          <p:cNvSpPr>
            <a:spLocks noGrp="1"/>
          </p:cNvSpPr>
          <p:nvPr>
            <p:ph type="title"/>
          </p:nvPr>
        </p:nvSpPr>
        <p:spPr>
          <a:xfrm>
            <a:off x="609600" y="175095"/>
            <a:ext cx="6896100" cy="1020827"/>
          </a:xfrm>
        </p:spPr>
        <p:txBody>
          <a:bodyPr anchor="b" anchorCtr="0"/>
          <a:lstStyle>
            <a:lvl1pPr>
              <a:defRPr sz="3200"/>
            </a:lvl1pPr>
          </a:lstStyle>
          <a:p>
            <a:r>
              <a:rPr lang="en-US"/>
              <a:t>Click to edit Master title style</a:t>
            </a:r>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715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with Log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5" name="Rectangle 4">
            <a:extLst>
              <a:ext uri="{FF2B5EF4-FFF2-40B4-BE49-F238E27FC236}">
                <a16:creationId xmlns:a16="http://schemas.microsoft.com/office/drawing/2014/main" id="{30F14312-84C0-444B-A37B-78B6E7600AE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3468927D-873E-6F5C-21DE-8BB60E3898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151435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66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Sla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F5234B-206E-8947-ACA6-B098E14C8FB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9A3D6B5A-383E-41D5-8F77-DB7ACDD451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Tree>
    <p:extLst>
      <p:ext uri="{BB962C8B-B14F-4D97-AF65-F5344CB8AC3E}">
        <p14:creationId xmlns:p14="http://schemas.microsoft.com/office/powerpoint/2010/main" val="163733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losing Sla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F5234B-206E-8947-ACA6-B098E14C8FB0}"/>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9A3D6B5A-383E-41D5-8F77-DB7ACDD451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
        <p:nvSpPr>
          <p:cNvPr id="3" name="Rectangle 2">
            <a:extLst>
              <a:ext uri="{FF2B5EF4-FFF2-40B4-BE49-F238E27FC236}">
                <a16:creationId xmlns:a16="http://schemas.microsoft.com/office/drawing/2014/main" id="{3A6D4FBC-A27A-B0EF-3A95-8F410ADD7928}"/>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4" name="Graphic 3">
            <a:extLst>
              <a:ext uri="{FF2B5EF4-FFF2-40B4-BE49-F238E27FC236}">
                <a16:creationId xmlns:a16="http://schemas.microsoft.com/office/drawing/2014/main" id="{192DACD0-02DC-BFE1-48A7-77EAE561A3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Tree>
    <p:extLst>
      <p:ext uri="{BB962C8B-B14F-4D97-AF65-F5344CB8AC3E}">
        <p14:creationId xmlns:p14="http://schemas.microsoft.com/office/powerpoint/2010/main" val="274444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Slide Option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6D5218-B400-EBAA-349F-B7934AEA7C1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A0CD978-2D5B-D0C4-2115-7867B5E83953}"/>
              </a:ext>
            </a:extLst>
          </p:cNvPr>
          <p:cNvSpPr/>
          <p:nvPr userDrawn="1"/>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2">
                    <a:lumMod val="25000"/>
                  </a:schemeClr>
                </a:solidFill>
                <a:latin typeface="+mj-lt"/>
                <a:cs typeface="Calibri" panose="020F050202020403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2">
                    <a:lumMod val="25000"/>
                  </a:schemeClr>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F46D4E3C-7F9C-880F-4424-22C22CA606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48660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cSld name="Title and Two Colum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94185" y="377253"/>
            <a:ext cx="11222533" cy="769662"/>
          </a:xfrm>
        </p:spPr>
        <p:txBody>
          <a:bodyPr/>
          <a:lstStyle>
            <a:lvl1pPr>
              <a:lnSpc>
                <a:spcPct val="100000"/>
              </a:lnSpc>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94185" y="1281851"/>
            <a:ext cx="5472662" cy="4684995"/>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7754" y="1281851"/>
            <a:ext cx="5468964" cy="4684995"/>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p:cNvSpPr>
            <a:spLocks noGrp="1"/>
          </p:cNvSpPr>
          <p:nvPr>
            <p:ph type="ftr" sz="quarter" idx="10"/>
          </p:nvPr>
        </p:nvSpPr>
        <p:spPr>
          <a:xfrm>
            <a:off x="4876800" y="6356350"/>
            <a:ext cx="2438400" cy="365125"/>
          </a:xfrm>
          <a:prstGeom prst="rect">
            <a:avLst/>
          </a:prstGeom>
        </p:spPr>
        <p:txBody>
          <a:bodyPr/>
          <a:lstStyle>
            <a:lvl1pPr>
              <a:defRPr>
                <a:solidFill>
                  <a:schemeClr val="bg1"/>
                </a:solidFill>
              </a:defRPr>
            </a:lvl1pPr>
          </a:lstStyle>
          <a:p>
            <a:endParaRPr lang="en-US"/>
          </a:p>
        </p:txBody>
      </p:sp>
      <p:sp>
        <p:nvSpPr>
          <p:cNvPr id="11" name="Slide Number Placeholder 10"/>
          <p:cNvSpPr>
            <a:spLocks noGrp="1"/>
          </p:cNvSpPr>
          <p:nvPr>
            <p:ph type="sldNum" sz="quarter" idx="11"/>
          </p:nvPr>
        </p:nvSpPr>
        <p:spPr/>
        <p:txBody>
          <a:bodyPr/>
          <a:lstStyle>
            <a:lvl1pPr algn="r">
              <a:defRPr>
                <a:solidFill>
                  <a:schemeClr val="bg1"/>
                </a:solidFill>
              </a:defRPr>
            </a:lvl1pPr>
          </a:lstStyle>
          <a:p>
            <a:r>
              <a:rPr lang="en-US"/>
              <a:t>DEPARTMENT NAME GOES HERE | MARCH 2018</a:t>
            </a:r>
          </a:p>
        </p:txBody>
      </p:sp>
    </p:spTree>
    <p:extLst>
      <p:ext uri="{BB962C8B-B14F-4D97-AF65-F5344CB8AC3E}">
        <p14:creationId xmlns:p14="http://schemas.microsoft.com/office/powerpoint/2010/main" val="38053301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A71ED6BF-F047-F643-BADC-3C6C752935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35683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userDrawn="1">
          <p15:clr>
            <a:srgbClr val="FBAE40"/>
          </p15:clr>
        </p15:guide>
        <p15:guide id="2" pos="384" userDrawn="1">
          <p15:clr>
            <a:srgbClr val="FBAE40"/>
          </p15:clr>
        </p15:guide>
        <p15:guide id="3" pos="7296" userDrawn="1">
          <p15:clr>
            <a:srgbClr val="FBAE40"/>
          </p15:clr>
        </p15:guide>
        <p15:guide id="4" orient="horz" pos="3912"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1483361" y="1548050"/>
            <a:ext cx="795528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1483361" y="4407218"/>
            <a:ext cx="7955280" cy="404812"/>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8" name="Rectangle 7">
            <a:extLst>
              <a:ext uri="{FF2B5EF4-FFF2-40B4-BE49-F238E27FC236}">
                <a16:creationId xmlns:a16="http://schemas.microsoft.com/office/drawing/2014/main" id="{FE7D37EF-F47E-7646-A640-53C869243F0F}"/>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75A77745-9FC9-1412-00DF-C2B7847590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Rectangle 3">
            <a:extLst>
              <a:ext uri="{FF2B5EF4-FFF2-40B4-BE49-F238E27FC236}">
                <a16:creationId xmlns:a16="http://schemas.microsoft.com/office/drawing/2014/main" id="{FF5823BE-6034-967A-EC12-1299DCA5888F}"/>
              </a:ext>
            </a:extLst>
          </p:cNvPr>
          <p:cNvSpPr/>
          <p:nvPr userDrawn="1"/>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C67FEB5-94B9-6FE8-3F48-916543C3694D}"/>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7" name="Graphic 6">
            <a:extLst>
              <a:ext uri="{FF2B5EF4-FFF2-40B4-BE49-F238E27FC236}">
                <a16:creationId xmlns:a16="http://schemas.microsoft.com/office/drawing/2014/main" id="{4766566B-1B82-AA69-31F3-5C7A81AC41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249513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960" userDrawn="1">
          <p15:clr>
            <a:srgbClr val="FBAE40"/>
          </p15:clr>
        </p15:guide>
        <p15:guide id="8" pos="936" userDrawn="1">
          <p15:clr>
            <a:srgbClr val="FBAE40"/>
          </p15:clr>
        </p15:guide>
        <p15:guide id="9" pos="5952" userDrawn="1">
          <p15:clr>
            <a:srgbClr val="FBAE40"/>
          </p15:clr>
        </p15:guide>
        <p15:guide id="10" orient="horz" pos="2688" userDrawn="1">
          <p15:clr>
            <a:srgbClr val="FBAE40"/>
          </p15:clr>
        </p15:guide>
        <p15:guide id="11" orient="horz" pos="2760" userDrawn="1">
          <p15:clr>
            <a:srgbClr val="FBAE40"/>
          </p15:clr>
        </p15:guide>
        <p15:guide id="12" orient="horz" pos="3024"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p:nvPicPr>
        <p:blipFill>
          <a:blip r:embed="rId2">
            <a:alphaModFix amt="35000"/>
          </a:blip>
          <a:stretch>
            <a:fillRect/>
          </a:stretch>
        </p:blipFill>
        <p:spPr>
          <a:xfrm>
            <a:off x="2780780"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759554" cy="1312075"/>
          </a:xfrm>
        </p:spPr>
        <p:txBody>
          <a:bodyPr anchor="b" anchorCtr="0"/>
          <a:lstStyle>
            <a:lvl1pPr algn="l">
              <a:defRPr sz="4800" b="0" i="0">
                <a:solidFill>
                  <a:schemeClr val="bg2">
                    <a:lumMod val="25000"/>
                  </a:schemeClr>
                </a:solidFill>
                <a:latin typeface="+mj-lt"/>
                <a:ea typeface="Roboto Slab Thin"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759554"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F46D4E3C-7F9C-880F-4424-22C22CA606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2245939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1 Column (Header)">
    <p:spTree>
      <p:nvGrpSpPr>
        <p:cNvPr id="1" name=""/>
        <p:cNvGrpSpPr/>
        <p:nvPr/>
      </p:nvGrpSpPr>
      <p:grpSpPr>
        <a:xfrm>
          <a:off x="0" y="0"/>
          <a:ext cx="0" cy="0"/>
          <a:chOff x="0" y="0"/>
          <a:chExt cx="0" cy="0"/>
        </a:xfrm>
      </p:grpSpPr>
      <p:sp>
        <p:nvSpPr>
          <p:cNvPr id="12" name="Text Placeholder 20">
            <a:extLst>
              <a:ext uri="{FF2B5EF4-FFF2-40B4-BE49-F238E27FC236}">
                <a16:creationId xmlns:a16="http://schemas.microsoft.com/office/drawing/2014/main" id="{F08B0038-E0CB-3547-B0AF-32EC07591A1F}"/>
              </a:ext>
            </a:extLst>
          </p:cNvPr>
          <p:cNvSpPr>
            <a:spLocks noGrp="1"/>
          </p:cNvSpPr>
          <p:nvPr>
            <p:ph type="body" sz="quarter" idx="15" hasCustomPrompt="1"/>
          </p:nvPr>
        </p:nvSpPr>
        <p:spPr>
          <a:xfrm>
            <a:off x="660608" y="1370850"/>
            <a:ext cx="10906337" cy="456363"/>
          </a:xfrm>
        </p:spPr>
        <p:txBody>
          <a:bodyPr>
            <a:noAutofit/>
          </a:bodyPr>
          <a:lstStyle>
            <a:lvl1pPr marL="0" indent="0">
              <a:buNone/>
              <a:defRPr sz="2600" b="0" i="0">
                <a:solidFill>
                  <a:schemeClr val="tx1">
                    <a:lumMod val="90000"/>
                    <a:lumOff val="10000"/>
                  </a:schemeClr>
                </a:solidFill>
                <a:latin typeface="+mn-lt"/>
                <a:ea typeface="Calibri Light" charset="0"/>
                <a:cs typeface="Calibri Light" charset="0"/>
              </a:defRPr>
            </a:lvl1pPr>
          </a:lstStyle>
          <a:p>
            <a:pPr lvl="0"/>
            <a:r>
              <a:rPr lang="en-US"/>
              <a:t>Header 01</a:t>
            </a:r>
          </a:p>
        </p:txBody>
      </p:sp>
      <p:sp>
        <p:nvSpPr>
          <p:cNvPr id="15" name="Slide Number Placeholder 5">
            <a:extLst>
              <a:ext uri="{FF2B5EF4-FFF2-40B4-BE49-F238E27FC236}">
                <a16:creationId xmlns:a16="http://schemas.microsoft.com/office/drawing/2014/main" id="{FED3B328-32C6-A846-A879-BB5542232263}"/>
              </a:ext>
            </a:extLst>
          </p:cNvPr>
          <p:cNvSpPr>
            <a:spLocks noGrp="1"/>
          </p:cNvSpPr>
          <p:nvPr>
            <p:ph type="sldNum" sz="quarter" idx="4"/>
          </p:nvPr>
        </p:nvSpPr>
        <p:spPr>
          <a:xfrm>
            <a:off x="879966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93C2FB-EF86-FD49-89EB-659751C15892}" type="slidenum">
              <a:rPr lang="en-US" smtClean="0"/>
              <a:t>‹#›</a:t>
            </a:fld>
            <a:endParaRPr lang="en-US"/>
          </a:p>
        </p:txBody>
      </p:sp>
      <p:sp>
        <p:nvSpPr>
          <p:cNvPr id="7" name="Content Placeholder 2">
            <a:extLst>
              <a:ext uri="{FF2B5EF4-FFF2-40B4-BE49-F238E27FC236}">
                <a16:creationId xmlns:a16="http://schemas.microsoft.com/office/drawing/2014/main" id="{A56D2A2C-658B-B640-B0FC-D563312E3D74}"/>
              </a:ext>
            </a:extLst>
          </p:cNvPr>
          <p:cNvSpPr>
            <a:spLocks noGrp="1"/>
          </p:cNvSpPr>
          <p:nvPr>
            <p:ph sz="quarter" idx="22"/>
          </p:nvPr>
        </p:nvSpPr>
        <p:spPr>
          <a:xfrm>
            <a:off x="660608" y="2082800"/>
            <a:ext cx="10882260" cy="4017963"/>
          </a:xfrm>
        </p:spPr>
        <p:txBody>
          <a:bodyPr>
            <a:normAutofit/>
          </a:bodyPr>
          <a:lstStyle>
            <a:lvl1pPr>
              <a:defRPr sz="22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B3356A8B-0978-4344-81D7-A94E7D73C7B3}"/>
              </a:ext>
            </a:extLst>
          </p:cNvPr>
          <p:cNvSpPr/>
          <p:nvPr userDrawn="1"/>
        </p:nvSpPr>
        <p:spPr>
          <a:xfrm>
            <a:off x="0" y="0"/>
            <a:ext cx="3561907" cy="1169582"/>
          </a:xfrm>
          <a:prstGeom prst="rect">
            <a:avLst/>
          </a:prstGeom>
          <a:solidFill>
            <a:srgbClr val="A3C23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8" name="Picture 7" descr="A picture containing drawing&#10;&#10;Description automatically generated">
            <a:extLst>
              <a:ext uri="{FF2B5EF4-FFF2-40B4-BE49-F238E27FC236}">
                <a16:creationId xmlns:a16="http://schemas.microsoft.com/office/drawing/2014/main" id="{0C1FEA9D-39F0-0144-BA3B-F76C3413510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1324" y="247846"/>
            <a:ext cx="3471810" cy="695166"/>
          </a:xfrm>
          <a:prstGeom prst="rect">
            <a:avLst/>
          </a:prstGeom>
        </p:spPr>
      </p:pic>
    </p:spTree>
    <p:extLst>
      <p:ext uri="{BB962C8B-B14F-4D97-AF65-F5344CB8AC3E}">
        <p14:creationId xmlns:p14="http://schemas.microsoft.com/office/powerpoint/2010/main" val="70218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lide Option 2">
    <p:spTree>
      <p:nvGrpSpPr>
        <p:cNvPr id="1" name=""/>
        <p:cNvGrpSpPr/>
        <p:nvPr/>
      </p:nvGrpSpPr>
      <p:grpSpPr>
        <a:xfrm>
          <a:off x="0" y="0"/>
          <a:ext cx="0" cy="0"/>
          <a:chOff x="0" y="0"/>
          <a:chExt cx="0" cy="0"/>
        </a:xfrm>
      </p:grpSpPr>
      <p:pic>
        <p:nvPicPr>
          <p:cNvPr id="10" name="Picture 9" descr="A group of people around each other&#10;&#10;Description automatically generated">
            <a:extLst>
              <a:ext uri="{FF2B5EF4-FFF2-40B4-BE49-F238E27FC236}">
                <a16:creationId xmlns:a16="http://schemas.microsoft.com/office/drawing/2014/main" id="{46E58B8C-779F-184B-97E6-77B9C082B6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E7EE6BAF-86B0-E654-40C3-B24271A543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2824672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Op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60552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AD5B4C1B-8876-3431-273A-2A183C6649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184541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Option 6">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E58B8C-779F-184B-97E6-77B9C082B6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62" y="4443413"/>
            <a:ext cx="12192000" cy="1914525"/>
          </a:xfrm>
          <a:prstGeom prst="rect">
            <a:avLst/>
          </a:prstGeom>
          <a:noFill/>
        </p:spPr>
      </p:pic>
      <p:sp>
        <p:nvSpPr>
          <p:cNvPr id="3" name="Text Placeholder 2"/>
          <p:cNvSpPr>
            <a:spLocks noGrp="1"/>
          </p:cNvSpPr>
          <p:nvPr>
            <p:ph type="body" sz="quarter" idx="10" hasCustomPrompt="1"/>
          </p:nvPr>
        </p:nvSpPr>
        <p:spPr>
          <a:xfrm>
            <a:off x="5463924" y="4795479"/>
            <a:ext cx="6333017" cy="848085"/>
          </a:xfrm>
        </p:spPr>
        <p:txBody>
          <a:bodyPr/>
          <a:lstStyle>
            <a:lvl1pPr marL="0" indent="0" algn="r">
              <a:buNone/>
              <a:defRPr sz="4400" b="0" i="0">
                <a:solidFill>
                  <a:schemeClr val="bg2"/>
                </a:solidFill>
                <a:latin typeface="+mj-lt"/>
                <a:ea typeface="Roboto Slab Light" pitchFamily="2" charset="0"/>
                <a:cs typeface="Calibri Light" panose="020F0302020204030204" pitchFamily="34" charset="0"/>
              </a:defRPr>
            </a:lvl1pPr>
          </a:lstStyle>
          <a:p>
            <a:pPr lvl="0"/>
            <a:r>
              <a:rPr lang="en-US"/>
              <a:t>Presentation Title</a:t>
            </a:r>
          </a:p>
        </p:txBody>
      </p:sp>
      <p:sp>
        <p:nvSpPr>
          <p:cNvPr id="5" name="Text Placeholder 4"/>
          <p:cNvSpPr>
            <a:spLocks noGrp="1"/>
          </p:cNvSpPr>
          <p:nvPr>
            <p:ph type="body" sz="quarter" idx="11" hasCustomPrompt="1"/>
          </p:nvPr>
        </p:nvSpPr>
        <p:spPr>
          <a:xfrm>
            <a:off x="8294459" y="5688921"/>
            <a:ext cx="3443288" cy="577850"/>
          </a:xfrm>
        </p:spPr>
        <p:txBody>
          <a:bodyPr/>
          <a:lstStyle>
            <a:lvl1pPr marL="0" indent="0" algn="r">
              <a:buNone/>
              <a:defRPr sz="2200" b="0" i="1">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head or Date</a:t>
            </a:r>
          </a:p>
        </p:txBody>
      </p:sp>
      <p:cxnSp>
        <p:nvCxnSpPr>
          <p:cNvPr id="8" name="Straight Connector 7"/>
          <p:cNvCxnSpPr/>
          <p:nvPr/>
        </p:nvCxnSpPr>
        <p:spPr>
          <a:xfrm flipV="1">
            <a:off x="5463924" y="5566679"/>
            <a:ext cx="6267235" cy="308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04B8D28-42EA-6143-800E-36A8631DDDED}"/>
              </a:ext>
            </a:extLst>
          </p:cNvPr>
          <p:cNvSpPr/>
          <p:nvPr/>
        </p:nvSpPr>
        <p:spPr>
          <a:xfrm>
            <a:off x="-20514" y="4443413"/>
            <a:ext cx="2212094" cy="191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FD56747C-94AA-A8D7-4CC8-F7BD2D7615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292" y="4857750"/>
            <a:ext cx="1744481" cy="1085850"/>
          </a:xfrm>
          <a:prstGeom prst="rect">
            <a:avLst/>
          </a:prstGeom>
        </p:spPr>
      </p:pic>
    </p:spTree>
    <p:extLst>
      <p:ext uri="{BB962C8B-B14F-4D97-AF65-F5344CB8AC3E}">
        <p14:creationId xmlns:p14="http://schemas.microsoft.com/office/powerpoint/2010/main" val="377645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Option 1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3C990-91EF-DB46-9027-FA2760C960B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4036" y="-27432"/>
            <a:ext cx="12206036" cy="6885432"/>
          </a:xfrm>
          <a:prstGeom prst="rect">
            <a:avLst/>
          </a:prstGeom>
        </p:spPr>
      </p:pic>
      <p:sp>
        <p:nvSpPr>
          <p:cNvPr id="4" name="Rectangle 3">
            <a:extLst>
              <a:ext uri="{FF2B5EF4-FFF2-40B4-BE49-F238E27FC236}">
                <a16:creationId xmlns:a16="http://schemas.microsoft.com/office/drawing/2014/main" id="{9E41F5D6-71C7-8540-A903-95BE29BA5872}"/>
              </a:ext>
            </a:extLst>
          </p:cNvPr>
          <p:cNvSpPr/>
          <p:nvPr/>
        </p:nvSpPr>
        <p:spPr>
          <a:xfrm>
            <a:off x="0"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575040" cy="1312075"/>
          </a:xfrm>
        </p:spPr>
        <p:txBody>
          <a:bodyPr anchor="b" anchorCtr="0"/>
          <a:lstStyle>
            <a:lvl1pPr algn="l">
              <a:defRPr sz="4800" b="0" i="0">
                <a:solidFill>
                  <a:schemeClr val="bg2">
                    <a:lumMod val="25000"/>
                  </a:schemeClr>
                </a:solidFill>
                <a:latin typeface="+mj-lt"/>
                <a:ea typeface="Roboto Slab Light" pitchFamily="2" charset="0"/>
                <a:cs typeface="Open Sans" panose="020B060603050402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b="0" i="0">
              <a:cs typeface="Open Sans" panose="020B0606030504020204" pitchFamily="34" charset="0"/>
            </a:endParaRPr>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b="0" i="1">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3" name="Graphic 2">
            <a:extLst>
              <a:ext uri="{FF2B5EF4-FFF2-40B4-BE49-F238E27FC236}">
                <a16:creationId xmlns:a16="http://schemas.microsoft.com/office/drawing/2014/main" id="{626BC9CF-C5C7-19C0-E4BC-F30A5B0798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119965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A71ED6BF-F047-F643-BADC-3C6C752935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7" name="Rectangle 6">
            <a:extLst>
              <a:ext uri="{FF2B5EF4-FFF2-40B4-BE49-F238E27FC236}">
                <a16:creationId xmlns:a16="http://schemas.microsoft.com/office/drawing/2014/main" id="{8ED3C157-AA62-9BC2-1CEB-1FF133391065}"/>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8" name="Straight Connector 7">
            <a:extLst>
              <a:ext uri="{FF2B5EF4-FFF2-40B4-BE49-F238E27FC236}">
                <a16:creationId xmlns:a16="http://schemas.microsoft.com/office/drawing/2014/main" id="{5E82D4E3-A4E2-B21E-4711-6193AF9DAEBB}"/>
              </a:ext>
            </a:extLst>
          </p:cNvPr>
          <p:cNvCxnSpPr>
            <a:cxnSpLocks/>
          </p:cNvCxnSpPr>
          <p:nvPr userDrawn="1"/>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09196E5F-3581-A9C9-5209-5A469E4533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62245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984" userDrawn="1">
          <p15:clr>
            <a:srgbClr val="FBAE40"/>
          </p15:clr>
        </p15:guide>
        <p15:guide id="6" pos="384" userDrawn="1">
          <p15:clr>
            <a:srgbClr val="FBAE40"/>
          </p15:clr>
        </p15:guide>
        <p15:guide id="7" pos="7296" userDrawn="1">
          <p15:clr>
            <a:srgbClr val="FBAE40"/>
          </p15:clr>
        </p15:guide>
        <p15:guide id="8" orient="horz" pos="3912"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One Column_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D253C39-5D5C-0942-AF66-9A859B40953B}"/>
              </a:ext>
            </a:extLst>
          </p:cNvPr>
          <p:cNvSpPr>
            <a:spLocks noGrp="1"/>
          </p:cNvSpPr>
          <p:nvPr>
            <p:ph type="body" sz="quarter" idx="13"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4" name="Graphic 3">
            <a:extLst>
              <a:ext uri="{FF2B5EF4-FFF2-40B4-BE49-F238E27FC236}">
                <a16:creationId xmlns:a16="http://schemas.microsoft.com/office/drawing/2014/main" id="{90B7DE28-5581-D231-8115-332BCBBA55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07924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One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10972800" cy="4648199"/>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Rectangle 10">
            <a:extLst>
              <a:ext uri="{FF2B5EF4-FFF2-40B4-BE49-F238E27FC236}">
                <a16:creationId xmlns:a16="http://schemas.microsoft.com/office/drawing/2014/main" id="{DF4440FD-3414-374B-A9AC-A45E138B26C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5" name="Straight Connector 4">
            <a:extLst>
              <a:ext uri="{FF2B5EF4-FFF2-40B4-BE49-F238E27FC236}">
                <a16:creationId xmlns:a16="http://schemas.microsoft.com/office/drawing/2014/main" id="{014A4EFA-8C19-2E47-B95C-A64B7FFD6716}"/>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5CBDB16C-FCE1-654B-A8B0-03B0C3BDA997}"/>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0" name="Text Placeholder 6">
            <a:extLst>
              <a:ext uri="{FF2B5EF4-FFF2-40B4-BE49-F238E27FC236}">
                <a16:creationId xmlns:a16="http://schemas.microsoft.com/office/drawing/2014/main" id="{373B8F32-84C1-6145-9135-8814C97CD21F}"/>
              </a:ext>
            </a:extLst>
          </p:cNvPr>
          <p:cNvSpPr>
            <a:spLocks noGrp="1"/>
          </p:cNvSpPr>
          <p:nvPr>
            <p:ph type="body" sz="quarter" idx="13"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27F8071D-62CF-B3AA-6EB8-2933D340721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60919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2" name="Straight Connector 11">
            <a:extLst>
              <a:ext uri="{FF2B5EF4-FFF2-40B4-BE49-F238E27FC236}">
                <a16:creationId xmlns:a16="http://schemas.microsoft.com/office/drawing/2014/main" id="{A790DA94-B1B1-F540-B236-89961D005175}"/>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5149A5D1-1E27-3449-8A9D-C212D7E5C4B3}"/>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9C87D7E4-C7D3-33A6-C205-BF49A873BF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2BE70B37-3F9A-3305-0A74-CDF42EA6BE51}"/>
              </a:ext>
            </a:extLst>
          </p:cNvPr>
          <p:cNvSpPr>
            <a:spLocks noGrp="1"/>
          </p:cNvSpPr>
          <p:nvPr>
            <p:ph sz="half" idx="13"/>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409041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3" name="Title 1">
            <a:extLst>
              <a:ext uri="{FF2B5EF4-FFF2-40B4-BE49-F238E27FC236}">
                <a16:creationId xmlns:a16="http://schemas.microsoft.com/office/drawing/2014/main" id="{386B9C39-3930-0642-8851-75ED3365A378}"/>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4A91B707-11BE-AD43-B13E-0FAB91299C64}"/>
              </a:ext>
            </a:extLst>
          </p:cNvPr>
          <p:cNvSpPr>
            <a:spLocks noGrp="1"/>
          </p:cNvSpPr>
          <p:nvPr>
            <p:ph type="body" sz="quarter" idx="14"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CDE0278F-90F4-C614-C834-B4489B3CCF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8BB31BBF-CD76-C911-5539-E6C5D413F9C5}"/>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Open Sans" panose="020B0606030504020204" pitchFamily="34" charset="0"/>
                <a:ea typeface="Open Sans" panose="020B0606030504020204" pitchFamily="34" charset="0"/>
                <a:cs typeface="Open Sans" panose="020B060603050402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95509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FEABE-3AFB-8149-8319-459E7E20C7F7}"/>
              </a:ext>
            </a:extLst>
          </p:cNvPr>
          <p:cNvSpPr>
            <a:spLocks noGrp="1"/>
          </p:cNvSpPr>
          <p:nvPr>
            <p:ph sz="half" idx="1"/>
          </p:nvPr>
        </p:nvSpPr>
        <p:spPr>
          <a:xfrm>
            <a:off x="609600"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9" name="Rectangle 8">
            <a:extLst>
              <a:ext uri="{FF2B5EF4-FFF2-40B4-BE49-F238E27FC236}">
                <a16:creationId xmlns:a16="http://schemas.microsoft.com/office/drawing/2014/main" id="{EC01BFFE-8BB7-C54B-B1C7-E8CEFEC397A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4" name="Straight Connector 13">
            <a:extLst>
              <a:ext uri="{FF2B5EF4-FFF2-40B4-BE49-F238E27FC236}">
                <a16:creationId xmlns:a16="http://schemas.microsoft.com/office/drawing/2014/main" id="{2581F3A1-E986-E642-A06A-620E378A355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2501A62-76E2-DD4B-90E6-E5FE9B329DA3}"/>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45DAB394-EDF1-5D48-920C-20021D8EF0C6}"/>
              </a:ext>
            </a:extLst>
          </p:cNvPr>
          <p:cNvSpPr>
            <a:spLocks noGrp="1"/>
          </p:cNvSpPr>
          <p:nvPr>
            <p:ph type="body" sz="quarter" idx="14"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FA73EDE9-E753-AC30-F3A1-835BB1888E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Content Placeholder 2">
            <a:extLst>
              <a:ext uri="{FF2B5EF4-FFF2-40B4-BE49-F238E27FC236}">
                <a16:creationId xmlns:a16="http://schemas.microsoft.com/office/drawing/2014/main" id="{DFEC7BE1-8207-53F3-6D92-94A74605FA06}"/>
              </a:ext>
            </a:extLst>
          </p:cNvPr>
          <p:cNvSpPr>
            <a:spLocks noGrp="1"/>
          </p:cNvSpPr>
          <p:nvPr>
            <p:ph sz="half" idx="15"/>
          </p:nvPr>
        </p:nvSpPr>
        <p:spPr>
          <a:xfrm>
            <a:off x="6359206" y="1562101"/>
            <a:ext cx="5223194" cy="4614862"/>
          </a:xfrm>
        </p:spPr>
        <p:txBody>
          <a:bodyPr anchor="t" anchorCtr="0"/>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b="0" i="0">
                <a:latin typeface="Roboto Slab Light" pitchFamily="2"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0" i="0">
                <a:latin typeface="Roboto Slab Light" pitchFamily="2"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Tree>
    <p:extLst>
      <p:ext uri="{BB962C8B-B14F-4D97-AF65-F5344CB8AC3E}">
        <p14:creationId xmlns:p14="http://schemas.microsoft.com/office/powerpoint/2010/main" val="24692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orient="horz" pos="3912">
          <p15:clr>
            <a:srgbClr val="FBAE40"/>
          </p15:clr>
        </p15:guide>
        <p15:guide id="4" pos="72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Option 7">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600153-8EBE-D644-84CE-423CC7DBB0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192000" cy="6858000"/>
          </a:xfrm>
          <a:prstGeom prst="rect">
            <a:avLst/>
          </a:prstGeom>
        </p:spPr>
      </p:pic>
      <p:sp>
        <p:nvSpPr>
          <p:cNvPr id="4" name="Rectangle 3">
            <a:extLst>
              <a:ext uri="{FF2B5EF4-FFF2-40B4-BE49-F238E27FC236}">
                <a16:creationId xmlns:a16="http://schemas.microsoft.com/office/drawing/2014/main" id="{9E41F5D6-71C7-8540-A903-95BE29BA5872}"/>
              </a:ext>
            </a:extLst>
          </p:cNvPr>
          <p:cNvSpPr/>
          <p:nvPr userDrawn="1"/>
        </p:nvSpPr>
        <p:spPr>
          <a:xfrm>
            <a:off x="1" y="0"/>
            <a:ext cx="12192000" cy="6858000"/>
          </a:xfrm>
          <a:prstGeom prst="rect">
            <a:avLst/>
          </a:prstGeom>
          <a:gradFill>
            <a:gsLst>
              <a:gs pos="27000">
                <a:schemeClr val="accent1">
                  <a:alpha val="90000"/>
                </a:schemeClr>
              </a:gs>
              <a:gs pos="99000">
                <a:schemeClr val="accent1">
                  <a:alpha val="2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1" y="3616962"/>
            <a:ext cx="8227542" cy="1312075"/>
          </a:xfrm>
        </p:spPr>
        <p:txBody>
          <a:bodyPr anchor="b" anchorCtr="0"/>
          <a:lstStyle>
            <a:lvl1pPr algn="l">
              <a:defRPr sz="5398" b="0" i="0">
                <a:solidFill>
                  <a:schemeClr val="bg1"/>
                </a:solidFill>
                <a:latin typeface="+mj-lt"/>
                <a:cs typeface="Calibri" panose="020F0502020204030204" pitchFamily="34" charset="0"/>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31E2702E-14ED-A049-8014-3B70633791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3112" y="740314"/>
            <a:ext cx="2220647" cy="1553708"/>
          </a:xfrm>
          <a:prstGeom prst="rect">
            <a:avLst/>
          </a:prstGeom>
        </p:spPr>
      </p:pic>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1" y="4953002"/>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599"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199" i="1">
                <a:solidFill>
                  <a:schemeClr val="bg1"/>
                </a:solidFill>
                <a:latin typeface="+mj-lt"/>
              </a:defRPr>
            </a:lvl1pPr>
            <a:lvl2pPr marL="457063" indent="0">
              <a:buNone/>
              <a:defRPr sz="3599">
                <a:solidFill>
                  <a:schemeClr val="bg1"/>
                </a:solidFill>
                <a:latin typeface="+mj-lt"/>
              </a:defRPr>
            </a:lvl2pPr>
            <a:lvl3pPr marL="914126" indent="0">
              <a:buNone/>
              <a:defRPr sz="3599">
                <a:solidFill>
                  <a:schemeClr val="bg1"/>
                </a:solidFill>
                <a:latin typeface="+mj-lt"/>
              </a:defRPr>
            </a:lvl3pPr>
            <a:lvl4pPr marL="1371189" indent="0">
              <a:buNone/>
              <a:defRPr sz="3599">
                <a:solidFill>
                  <a:schemeClr val="bg1"/>
                </a:solidFill>
                <a:latin typeface="+mj-lt"/>
              </a:defRPr>
            </a:lvl4pPr>
            <a:lvl5pPr marL="1828251" indent="0">
              <a:buNone/>
              <a:defRPr sz="3599">
                <a:solidFill>
                  <a:schemeClr val="bg1"/>
                </a:solidFill>
                <a:latin typeface="+mj-lt"/>
              </a:defRPr>
            </a:lvl5pPr>
          </a:lstStyle>
          <a:p>
            <a:pPr lvl="0"/>
            <a:r>
              <a:rPr lang="en-US"/>
              <a:t>Click to edit Master sub title</a:t>
            </a:r>
          </a:p>
        </p:txBody>
      </p:sp>
    </p:spTree>
    <p:extLst>
      <p:ext uri="{BB962C8B-B14F-4D97-AF65-F5344CB8AC3E}">
        <p14:creationId xmlns:p14="http://schemas.microsoft.com/office/powerpoint/2010/main" val="257068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rPr>
              <a:t>Fifth level</a:t>
            </a:r>
            <a:endParaRPr kumimoji="0" lang="en-US" sz="1200" b="0" i="0" u="none" strike="noStrike" kern="1200" cap="none" spc="0" normalizeH="0" baseline="0" noProof="0">
              <a:ln>
                <a:noFill/>
              </a:ln>
              <a:solidFill>
                <a:srgbClr val="58595B"/>
              </a:solidFill>
              <a:effectLst/>
              <a:uLnTx/>
              <a:uFillTx/>
              <a:latin typeface="Open Sans Light"/>
              <a:ea typeface="Open Sans" pitchFamily="2" charset="0"/>
              <a:cs typeface="Open Sans" pitchFamily="2" charset="0"/>
            </a:endParaRP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5" name="Straight Connector 14">
            <a:extLst>
              <a:ext uri="{FF2B5EF4-FFF2-40B4-BE49-F238E27FC236}">
                <a16:creationId xmlns:a16="http://schemas.microsoft.com/office/drawing/2014/main" id="{7E721B0F-1544-B342-8ED3-E88A03FB306F}"/>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45F7755-2DA8-0A4A-B346-37B838F8FADB}"/>
              </a:ext>
            </a:extLst>
          </p:cNvPr>
          <p:cNvSpPr>
            <a:spLocks noGrp="1"/>
          </p:cNvSpPr>
          <p:nvPr>
            <p:ph type="title"/>
          </p:nvPr>
        </p:nvSpPr>
        <p:spPr>
          <a:xfrm>
            <a:off x="609600" y="175095"/>
            <a:ext cx="9499600" cy="1020827"/>
          </a:xfrm>
        </p:spPr>
        <p:txBody>
          <a:bodyPr anchor="b" anchorCtr="0"/>
          <a:lstStyle>
            <a:lvl1pPr>
              <a:defRPr sz="3200"/>
            </a:lvl1pPr>
          </a:lstStyle>
          <a:p>
            <a:r>
              <a:rPr lang="en-US"/>
              <a:t>Click to edit Master title style</a:t>
            </a:r>
          </a:p>
        </p:txBody>
      </p:sp>
      <p:pic>
        <p:nvPicPr>
          <p:cNvPr id="2" name="Graphic 1">
            <a:extLst>
              <a:ext uri="{FF2B5EF4-FFF2-40B4-BE49-F238E27FC236}">
                <a16:creationId xmlns:a16="http://schemas.microsoft.com/office/drawing/2014/main" id="{35654BFD-DB60-606E-0651-61D9A7EC8F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2711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Column_Subhea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6" name="Title 1">
            <a:extLst>
              <a:ext uri="{FF2B5EF4-FFF2-40B4-BE49-F238E27FC236}">
                <a16:creationId xmlns:a16="http://schemas.microsoft.com/office/drawing/2014/main" id="{43832153-8289-6948-9B14-0F51FAF7A04F}"/>
              </a:ext>
            </a:extLst>
          </p:cNvPr>
          <p:cNvSpPr>
            <a:spLocks noGrp="1"/>
          </p:cNvSpPr>
          <p:nvPr>
            <p:ph type="title"/>
          </p:nvPr>
        </p:nvSpPr>
        <p:spPr>
          <a:xfrm>
            <a:off x="609600" y="325120"/>
            <a:ext cx="9469120" cy="568960"/>
          </a:xfrm>
        </p:spPr>
        <p:txBody>
          <a:bodyPr anchor="b" anchorCtr="0"/>
          <a:lstStyle>
            <a:lvl1pPr>
              <a:defRPr sz="3200"/>
            </a:lvl1pPr>
          </a:lstStyle>
          <a:p>
            <a:r>
              <a:rPr lang="en-US"/>
              <a:t>Click to edit Master title style</a:t>
            </a: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C4BF11BC-523B-124E-8A1E-C9ADCE3E1B4E}"/>
              </a:ext>
            </a:extLst>
          </p:cNvPr>
          <p:cNvSpPr>
            <a:spLocks noGrp="1"/>
          </p:cNvSpPr>
          <p:nvPr>
            <p:ph type="body" sz="quarter" idx="15" hasCustomPrompt="1"/>
          </p:nvPr>
        </p:nvSpPr>
        <p:spPr>
          <a:xfrm>
            <a:off x="609600" y="965200"/>
            <a:ext cx="94900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D3BDBEED-4242-B3D2-0C81-52E8F6D36C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053925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Column_Subhead 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F05C8685-FF8C-6A43-9518-9F251B8BA9A5}"/>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11" name="Content Placeholder 2">
            <a:extLst>
              <a:ext uri="{FF2B5EF4-FFF2-40B4-BE49-F238E27FC236}">
                <a16:creationId xmlns:a16="http://schemas.microsoft.com/office/drawing/2014/main" id="{20F0C48C-6419-E542-9E66-3B49E2C31F74}"/>
              </a:ext>
            </a:extLst>
          </p:cNvPr>
          <p:cNvSpPr>
            <a:spLocks noGrp="1"/>
          </p:cNvSpPr>
          <p:nvPr>
            <p:ph sz="half" idx="1"/>
          </p:nvPr>
        </p:nvSpPr>
        <p:spPr>
          <a:xfrm>
            <a:off x="60960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2AFBBA-0440-664F-9718-A67967B2629F}"/>
              </a:ext>
            </a:extLst>
          </p:cNvPr>
          <p:cNvSpPr>
            <a:spLocks noGrp="1"/>
          </p:cNvSpPr>
          <p:nvPr>
            <p:ph sz="half" idx="13"/>
          </p:nvPr>
        </p:nvSpPr>
        <p:spPr>
          <a:xfrm>
            <a:off x="439928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6D8D87D-5760-5145-A3C9-CE4D5B30DC75}"/>
              </a:ext>
            </a:extLst>
          </p:cNvPr>
          <p:cNvSpPr>
            <a:spLocks noGrp="1"/>
          </p:cNvSpPr>
          <p:nvPr>
            <p:ph sz="half" idx="14"/>
          </p:nvPr>
        </p:nvSpPr>
        <p:spPr>
          <a:xfrm>
            <a:off x="8188960" y="1577967"/>
            <a:ext cx="3393440" cy="4629476"/>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B9D7C00-1E28-464B-8EF2-9AE735767BD5}"/>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7" name="Straight Connector 16">
            <a:extLst>
              <a:ext uri="{FF2B5EF4-FFF2-40B4-BE49-F238E27FC236}">
                <a16:creationId xmlns:a16="http://schemas.microsoft.com/office/drawing/2014/main" id="{AF443D2C-157D-5A47-A20F-2B23B6782CE1}"/>
              </a:ext>
            </a:extLst>
          </p:cNvPr>
          <p:cNvCxnSpPr>
            <a:cxnSpLocks/>
          </p:cNvCxnSpPr>
          <p:nvPr/>
        </p:nvCxnSpPr>
        <p:spPr>
          <a:xfrm>
            <a:off x="598025" y="1356038"/>
            <a:ext cx="988709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7BB336AE-C178-AC43-84E5-33C29412B255}"/>
              </a:ext>
            </a:extLst>
          </p:cNvPr>
          <p:cNvSpPr>
            <a:spLocks noGrp="1"/>
          </p:cNvSpPr>
          <p:nvPr>
            <p:ph type="title"/>
          </p:nvPr>
        </p:nvSpPr>
        <p:spPr>
          <a:xfrm>
            <a:off x="609600" y="274320"/>
            <a:ext cx="9469120" cy="426720"/>
          </a:xfrm>
        </p:spPr>
        <p:txBody>
          <a:bodyPr anchor="b" anchorCtr="0"/>
          <a:lstStyle>
            <a:lvl1pPr>
              <a:defRPr sz="3200"/>
            </a:lvl1pPr>
          </a:lstStyle>
          <a:p>
            <a:r>
              <a:rPr lang="en-US"/>
              <a:t>Click to edit Master title style</a:t>
            </a:r>
          </a:p>
        </p:txBody>
      </p:sp>
      <p:sp>
        <p:nvSpPr>
          <p:cNvPr id="15" name="Text Placeholder 6">
            <a:extLst>
              <a:ext uri="{FF2B5EF4-FFF2-40B4-BE49-F238E27FC236}">
                <a16:creationId xmlns:a16="http://schemas.microsoft.com/office/drawing/2014/main" id="{53D86292-7698-6646-8991-2844CE386BCF}"/>
              </a:ext>
            </a:extLst>
          </p:cNvPr>
          <p:cNvSpPr>
            <a:spLocks noGrp="1"/>
          </p:cNvSpPr>
          <p:nvPr>
            <p:ph type="body" sz="quarter" idx="15" hasCustomPrompt="1"/>
          </p:nvPr>
        </p:nvSpPr>
        <p:spPr>
          <a:xfrm>
            <a:off x="609600" y="792480"/>
            <a:ext cx="9490075"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03816E19-81FB-E44B-A0FC-08B5482069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839257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3" pos="7296">
          <p15:clr>
            <a:srgbClr val="FBAE40"/>
          </p15:clr>
        </p15:guide>
        <p15:guide id="4" orient="horz" pos="391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kinny Photo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sp>
        <p:nvSpPr>
          <p:cNvPr id="10" name="Title 1">
            <a:extLst>
              <a:ext uri="{FF2B5EF4-FFF2-40B4-BE49-F238E27FC236}">
                <a16:creationId xmlns:a16="http://schemas.microsoft.com/office/drawing/2014/main" id="{99D72E9D-EE6F-134E-B5A9-2FB8729C96F7}"/>
              </a:ext>
            </a:extLst>
          </p:cNvPr>
          <p:cNvSpPr>
            <a:spLocks noGrp="1"/>
          </p:cNvSpPr>
          <p:nvPr>
            <p:ph type="title"/>
          </p:nvPr>
        </p:nvSpPr>
        <p:spPr>
          <a:xfrm>
            <a:off x="4724399" y="175095"/>
            <a:ext cx="5009909" cy="1020827"/>
          </a:xfrm>
        </p:spPr>
        <p:txBody>
          <a:bodyPr anchor="b" anchorCtr="0"/>
          <a:lstStyle>
            <a:lvl1pPr>
              <a:defRPr sz="3200"/>
            </a:lvl1pPr>
          </a:lstStyle>
          <a:p>
            <a:r>
              <a:rPr lang="en-US"/>
              <a:t>Click to edit Master title style</a:t>
            </a: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2DF696C-F86A-E6FD-52C3-E5DBA17269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21342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kinny Photo Left_Subhea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49EA303-5278-A449-9440-6A0F1B3BBD5F}"/>
              </a:ext>
            </a:extLst>
          </p:cNvPr>
          <p:cNvSpPr>
            <a:spLocks noGrp="1"/>
          </p:cNvSpPr>
          <p:nvPr>
            <p:ph type="title"/>
          </p:nvPr>
        </p:nvSpPr>
        <p:spPr>
          <a:xfrm>
            <a:off x="4724400" y="325120"/>
            <a:ext cx="5354320" cy="568960"/>
          </a:xfrm>
        </p:spPr>
        <p:txBody>
          <a:bodyPr anchor="b" anchorCtr="0"/>
          <a:lstStyle>
            <a:lvl1pPr>
              <a:defRPr sz="3200"/>
            </a:lvl1pPr>
          </a:lstStyle>
          <a:p>
            <a:r>
              <a:rPr lang="en-US"/>
              <a:t>Click to edit Master title style</a:t>
            </a:r>
          </a:p>
        </p:txBody>
      </p:sp>
      <p:sp>
        <p:nvSpPr>
          <p:cNvPr id="14" name="Text Placeholder 6">
            <a:extLst>
              <a:ext uri="{FF2B5EF4-FFF2-40B4-BE49-F238E27FC236}">
                <a16:creationId xmlns:a16="http://schemas.microsoft.com/office/drawing/2014/main" id="{EDDC8735-3449-B949-BDF8-6A201B956E3C}"/>
              </a:ext>
            </a:extLst>
          </p:cNvPr>
          <p:cNvSpPr>
            <a:spLocks noGrp="1"/>
          </p:cNvSpPr>
          <p:nvPr>
            <p:ph type="body" sz="quarter" idx="14" hasCustomPrompt="1"/>
          </p:nvPr>
        </p:nvSpPr>
        <p:spPr>
          <a:xfrm>
            <a:off x="4724400" y="965200"/>
            <a:ext cx="5375275"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pic>
        <p:nvPicPr>
          <p:cNvPr id="2" name="Graphic 1">
            <a:extLst>
              <a:ext uri="{FF2B5EF4-FFF2-40B4-BE49-F238E27FC236}">
                <a16:creationId xmlns:a16="http://schemas.microsoft.com/office/drawing/2014/main" id="{6021EEE9-C726-9AEB-F8C8-BFE321119D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95204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kinny Photo Left_Subhead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4722471" y="1562100"/>
            <a:ext cx="6859930" cy="4614863"/>
          </a:xfrm>
        </p:spPr>
        <p:txBody>
          <a:bodyPr anchor="t" anchorCtr="0"/>
          <a:lstStyle>
            <a:lvl1pPr>
              <a:defRPr sz="20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a:xfrm>
            <a:off x="9043208" y="6336030"/>
            <a:ext cx="2539192" cy="365125"/>
          </a:xfrm>
        </p:spPr>
        <p:txBody>
          <a:bodyPr/>
          <a:lstStyle/>
          <a:p>
            <a:fld id="{6DD660AA-F4B9-9E4A-970E-DF14D91E0EC0}" type="slidenum">
              <a:rPr lang="en-US" smtClean="0"/>
              <a:t>‹#›</a:t>
            </a:fld>
            <a:endParaRPr lang="en-US"/>
          </a:p>
        </p:txBody>
      </p:sp>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609600" y="0"/>
            <a:ext cx="3789363" cy="6192838"/>
          </a:xfrm>
        </p:spPr>
        <p:txBody>
          <a:bodyPr/>
          <a:lstStyle/>
          <a:p>
            <a:r>
              <a:rPr lang="en-US"/>
              <a:t>Click icon to add picture</a:t>
            </a:r>
          </a:p>
        </p:txBody>
      </p:sp>
      <p:sp>
        <p:nvSpPr>
          <p:cNvPr id="8" name="Rectangle 7">
            <a:extLst>
              <a:ext uri="{FF2B5EF4-FFF2-40B4-BE49-F238E27FC236}">
                <a16:creationId xmlns:a16="http://schemas.microsoft.com/office/drawing/2014/main" id="{424C16E0-92CF-6F41-9635-C97091D349D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cxnSp>
        <p:nvCxnSpPr>
          <p:cNvPr id="11" name="Straight Connector 10">
            <a:extLst>
              <a:ext uri="{FF2B5EF4-FFF2-40B4-BE49-F238E27FC236}">
                <a16:creationId xmlns:a16="http://schemas.microsoft.com/office/drawing/2014/main" id="{2121C70C-B746-1148-A493-2776B1A321A0}"/>
              </a:ext>
            </a:extLst>
          </p:cNvPr>
          <p:cNvCxnSpPr>
            <a:cxnSpLocks/>
          </p:cNvCxnSpPr>
          <p:nvPr/>
        </p:nvCxnSpPr>
        <p:spPr>
          <a:xfrm>
            <a:off x="4724400" y="1356038"/>
            <a:ext cx="5760720"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3DC57D1-818A-3B48-9EFC-82C14F8DA905}"/>
              </a:ext>
            </a:extLst>
          </p:cNvPr>
          <p:cNvSpPr>
            <a:spLocks noGrp="1"/>
          </p:cNvSpPr>
          <p:nvPr>
            <p:ph type="title"/>
          </p:nvPr>
        </p:nvSpPr>
        <p:spPr>
          <a:xfrm>
            <a:off x="4724400" y="274320"/>
            <a:ext cx="5354320" cy="426720"/>
          </a:xfrm>
        </p:spPr>
        <p:txBody>
          <a:bodyPr anchor="b" anchorCtr="0"/>
          <a:lstStyle>
            <a:lvl1pPr>
              <a:defRPr sz="3200"/>
            </a:lvl1pPr>
          </a:lstStyle>
          <a:p>
            <a:r>
              <a:rPr lang="en-US"/>
              <a:t>Click to edit Master title style</a:t>
            </a:r>
          </a:p>
        </p:txBody>
      </p:sp>
      <p:sp>
        <p:nvSpPr>
          <p:cNvPr id="13" name="Text Placeholder 6">
            <a:extLst>
              <a:ext uri="{FF2B5EF4-FFF2-40B4-BE49-F238E27FC236}">
                <a16:creationId xmlns:a16="http://schemas.microsoft.com/office/drawing/2014/main" id="{676E6F74-E1C4-B548-9A47-4B556FD86281}"/>
              </a:ext>
            </a:extLst>
          </p:cNvPr>
          <p:cNvSpPr>
            <a:spLocks noGrp="1"/>
          </p:cNvSpPr>
          <p:nvPr>
            <p:ph type="body" sz="quarter" idx="14" hasCustomPrompt="1"/>
          </p:nvPr>
        </p:nvSpPr>
        <p:spPr>
          <a:xfrm>
            <a:off x="4733506" y="792480"/>
            <a:ext cx="5366169"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pic>
        <p:nvPicPr>
          <p:cNvPr id="2" name="Graphic 1">
            <a:extLst>
              <a:ext uri="{FF2B5EF4-FFF2-40B4-BE49-F238E27FC236}">
                <a16:creationId xmlns:a16="http://schemas.microsoft.com/office/drawing/2014/main" id="{ECD6FAC8-E1F2-F235-5D9C-4C9B705CDBF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63396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3912">
          <p15:clr>
            <a:srgbClr val="FBAE40"/>
          </p15:clr>
        </p15:guide>
        <p15:guide id="2" pos="384">
          <p15:clr>
            <a:srgbClr val="FBAE40"/>
          </p15:clr>
        </p15:guide>
        <p15:guide id="3" pos="2784">
          <p15:clr>
            <a:srgbClr val="FBAE40"/>
          </p15:clr>
        </p15:guide>
        <p15:guide id="4" orient="horz" pos="984">
          <p15:clr>
            <a:srgbClr val="FBAE40"/>
          </p15:clr>
        </p15:guide>
        <p15:guide id="5" pos="2976">
          <p15:clr>
            <a:srgbClr val="FBAE40"/>
          </p15:clr>
        </p15:guide>
        <p15:guide id="6" pos="729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kinny Photo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9" name="Title 1">
            <a:extLst>
              <a:ext uri="{FF2B5EF4-FFF2-40B4-BE49-F238E27FC236}">
                <a16:creationId xmlns:a16="http://schemas.microsoft.com/office/drawing/2014/main" id="{7B831997-046F-B544-A9DE-9D1534FA6084}"/>
              </a:ext>
            </a:extLst>
          </p:cNvPr>
          <p:cNvSpPr>
            <a:spLocks noGrp="1"/>
          </p:cNvSpPr>
          <p:nvPr>
            <p:ph type="title"/>
          </p:nvPr>
        </p:nvSpPr>
        <p:spPr>
          <a:xfrm>
            <a:off x="609600" y="175095"/>
            <a:ext cx="6896100" cy="1020827"/>
          </a:xfrm>
        </p:spPr>
        <p:txBody>
          <a:bodyPr anchor="b" anchorCtr="0"/>
          <a:lstStyle>
            <a:lvl1pPr>
              <a:defRPr sz="3200"/>
            </a:lvl1pPr>
          </a:lstStyle>
          <a:p>
            <a:r>
              <a:rPr lang="en-US"/>
              <a:t>Click to edit Master title style</a:t>
            </a:r>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366382CE-51C6-FE93-9DCA-E9BF9F4E5602}"/>
              </a:ext>
            </a:extLst>
          </p:cNvPr>
          <p:cNvCxnSpPr>
            <a:cxnSpLocks/>
          </p:cNvCxnSpPr>
          <p:nvPr userDrawn="1"/>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936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kinny Photo Right_Subhea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054A52C-27BC-0341-BC40-DC426058B22F}"/>
              </a:ext>
            </a:extLst>
          </p:cNvPr>
          <p:cNvSpPr>
            <a:spLocks noGrp="1"/>
          </p:cNvSpPr>
          <p:nvPr>
            <p:ph type="title"/>
          </p:nvPr>
        </p:nvSpPr>
        <p:spPr>
          <a:xfrm>
            <a:off x="609600" y="325120"/>
            <a:ext cx="6896100" cy="568960"/>
          </a:xfrm>
        </p:spPr>
        <p:txBody>
          <a:bodyPr anchor="b" anchorCtr="0"/>
          <a:lstStyle>
            <a:lvl1pPr>
              <a:defRPr sz="3200"/>
            </a:lvl1pPr>
          </a:lstStyle>
          <a:p>
            <a:r>
              <a:rPr lang="en-US"/>
              <a:t>Click to edit Master title style</a:t>
            </a:r>
          </a:p>
        </p:txBody>
      </p:sp>
      <p:sp>
        <p:nvSpPr>
          <p:cNvPr id="12" name="Text Placeholder 6">
            <a:extLst>
              <a:ext uri="{FF2B5EF4-FFF2-40B4-BE49-F238E27FC236}">
                <a16:creationId xmlns:a16="http://schemas.microsoft.com/office/drawing/2014/main" id="{D82369CF-5403-4E40-8CD7-4FFD11F5C557}"/>
              </a:ext>
            </a:extLst>
          </p:cNvPr>
          <p:cNvSpPr>
            <a:spLocks noGrp="1"/>
          </p:cNvSpPr>
          <p:nvPr>
            <p:ph type="body" sz="quarter" idx="14" hasCustomPrompt="1"/>
          </p:nvPr>
        </p:nvSpPr>
        <p:spPr>
          <a:xfrm>
            <a:off x="609601" y="965200"/>
            <a:ext cx="6896100" cy="28416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endParaRPr lang="en-US"/>
          </a:p>
        </p:txBody>
      </p:sp>
    </p:spTree>
    <p:extLst>
      <p:ext uri="{BB962C8B-B14F-4D97-AF65-F5344CB8AC3E}">
        <p14:creationId xmlns:p14="http://schemas.microsoft.com/office/powerpoint/2010/main" val="1442751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kinny Photo Right_Subhead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BB6DB7D-8DC9-6B46-AA62-335DFCA668C0}"/>
              </a:ext>
            </a:extLst>
          </p:cNvPr>
          <p:cNvSpPr>
            <a:spLocks noGrp="1"/>
          </p:cNvSpPr>
          <p:nvPr>
            <p:ph type="pic" sz="quarter" idx="13"/>
          </p:nvPr>
        </p:nvSpPr>
        <p:spPr>
          <a:xfrm>
            <a:off x="7766613" y="0"/>
            <a:ext cx="3815787" cy="6192838"/>
          </a:xfrm>
        </p:spPr>
        <p:txBody>
          <a:bodyPr/>
          <a:lstStyle/>
          <a:p>
            <a:r>
              <a:rPr lang="en-US"/>
              <a:t>Click icon to add picture</a:t>
            </a:r>
          </a:p>
        </p:txBody>
      </p:sp>
      <p:sp>
        <p:nvSpPr>
          <p:cNvPr id="3" name="Content Placeholder 2">
            <a:extLst>
              <a:ext uri="{FF2B5EF4-FFF2-40B4-BE49-F238E27FC236}">
                <a16:creationId xmlns:a16="http://schemas.microsoft.com/office/drawing/2014/main" id="{089DE45C-1BAA-B349-8426-1ADAFA879C57}"/>
              </a:ext>
            </a:extLst>
          </p:cNvPr>
          <p:cNvSpPr>
            <a:spLocks noGrp="1"/>
          </p:cNvSpPr>
          <p:nvPr>
            <p:ph idx="1"/>
          </p:nvPr>
        </p:nvSpPr>
        <p:spPr>
          <a:xfrm>
            <a:off x="609600" y="1562100"/>
            <a:ext cx="6859082" cy="4614863"/>
          </a:xfrm>
        </p:spPr>
        <p:txBody>
          <a:bodyPr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cxnSp>
        <p:nvCxnSpPr>
          <p:cNvPr id="10" name="Straight Connector 9">
            <a:extLst>
              <a:ext uri="{FF2B5EF4-FFF2-40B4-BE49-F238E27FC236}">
                <a16:creationId xmlns:a16="http://schemas.microsoft.com/office/drawing/2014/main" id="{FB21A11F-F3C0-A247-A60C-BE67729A030A}"/>
              </a:ext>
            </a:extLst>
          </p:cNvPr>
          <p:cNvCxnSpPr>
            <a:cxnSpLocks/>
          </p:cNvCxnSpPr>
          <p:nvPr/>
        </p:nvCxnSpPr>
        <p:spPr>
          <a:xfrm>
            <a:off x="598025" y="1356038"/>
            <a:ext cx="6907675" cy="0"/>
          </a:xfrm>
          <a:prstGeom prst="line">
            <a:avLst/>
          </a:prstGeom>
          <a:ln>
            <a:gradFill>
              <a:gsLst>
                <a:gs pos="100000">
                  <a:schemeClr val="accent1">
                    <a:lumMod val="5000"/>
                    <a:lumOff val="95000"/>
                  </a:schemeClr>
                </a:gs>
                <a:gs pos="36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E1529B8E-E21A-8543-BDAB-7D936F152680}"/>
              </a:ext>
            </a:extLst>
          </p:cNvPr>
          <p:cNvSpPr>
            <a:spLocks noGrp="1"/>
          </p:cNvSpPr>
          <p:nvPr>
            <p:ph type="title"/>
          </p:nvPr>
        </p:nvSpPr>
        <p:spPr>
          <a:xfrm>
            <a:off x="609600" y="274320"/>
            <a:ext cx="6880873" cy="426720"/>
          </a:xfrm>
        </p:spPr>
        <p:txBody>
          <a:bodyPr anchor="b" anchorCtr="0"/>
          <a:lstStyle>
            <a:lvl1pPr>
              <a:defRPr sz="3200"/>
            </a:lvl1pPr>
          </a:lstStyle>
          <a:p>
            <a:r>
              <a:rPr lang="en-US"/>
              <a:t>Click to edit Master title style</a:t>
            </a:r>
          </a:p>
        </p:txBody>
      </p:sp>
      <p:sp>
        <p:nvSpPr>
          <p:cNvPr id="9" name="Text Placeholder 6">
            <a:extLst>
              <a:ext uri="{FF2B5EF4-FFF2-40B4-BE49-F238E27FC236}">
                <a16:creationId xmlns:a16="http://schemas.microsoft.com/office/drawing/2014/main" id="{F9701E11-0FE4-7548-B605-B4E42F271401}"/>
              </a:ext>
            </a:extLst>
          </p:cNvPr>
          <p:cNvSpPr>
            <a:spLocks noGrp="1"/>
          </p:cNvSpPr>
          <p:nvPr>
            <p:ph type="body" sz="quarter" idx="14" hasCustomPrompt="1"/>
          </p:nvPr>
        </p:nvSpPr>
        <p:spPr>
          <a:xfrm>
            <a:off x="609601" y="792480"/>
            <a:ext cx="6896100" cy="426403"/>
          </a:xfrm>
        </p:spPr>
        <p:txBody>
          <a:bodyPr/>
          <a:lstStyle>
            <a:lvl1pPr marL="0" indent="0">
              <a:buNone/>
              <a:defRPr b="0" i="1">
                <a:solidFill>
                  <a:schemeClr val="tx2">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i="1"/>
              <a:t>Click to edit subtitle style</a:t>
            </a:r>
            <a:br>
              <a:rPr lang="en-US" i="1"/>
            </a:br>
            <a:r>
              <a:rPr lang="en-US" i="1"/>
              <a:t>Double Line Style</a:t>
            </a:r>
            <a:endParaRPr lang="en-US"/>
          </a:p>
        </p:txBody>
      </p:sp>
    </p:spTree>
    <p:extLst>
      <p:ext uri="{BB962C8B-B14F-4D97-AF65-F5344CB8AC3E}">
        <p14:creationId xmlns:p14="http://schemas.microsoft.com/office/powerpoint/2010/main" val="78759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984">
          <p15:clr>
            <a:srgbClr val="FBAE40"/>
          </p15:clr>
        </p15:guide>
        <p15:guide id="2" pos="384">
          <p15:clr>
            <a:srgbClr val="FBAE40"/>
          </p15:clr>
        </p15:guide>
        <p15:guide id="4" orient="horz" pos="3912">
          <p15:clr>
            <a:srgbClr val="FBAE40"/>
          </p15:clr>
        </p15:guide>
        <p15:guide id="5" pos="4728">
          <p15:clr>
            <a:srgbClr val="FBAE40"/>
          </p15:clr>
        </p15:guide>
        <p15:guide id="6" pos="4896">
          <p15:clr>
            <a:srgbClr val="FBAE40"/>
          </p15:clr>
        </p15:guide>
        <p15:guide id="7" pos="729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arge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7257327" y="2095500"/>
            <a:ext cx="4325074" cy="3078384"/>
          </a:xfrm>
        </p:spPr>
        <p:txBody>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382588" y="334963"/>
            <a:ext cx="6492875" cy="6157912"/>
          </a:xfrm>
        </p:spPr>
        <p:txBody>
          <a:bodyPr/>
          <a:lstStyle/>
          <a:p>
            <a:r>
              <a:rPr lang="en-US"/>
              <a:t>Click icon to add picture</a:t>
            </a:r>
          </a:p>
        </p:txBody>
      </p:sp>
      <p:sp>
        <p:nvSpPr>
          <p:cNvPr id="8" name="Rectangle 7">
            <a:extLst>
              <a:ext uri="{FF2B5EF4-FFF2-40B4-BE49-F238E27FC236}">
                <a16:creationId xmlns:a16="http://schemas.microsoft.com/office/drawing/2014/main" id="{EB98A59D-123E-5748-BCE5-F090EB559309}"/>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14350B91-35CE-988A-5E82-9ED0929BBF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176858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92">
          <p15:clr>
            <a:srgbClr val="FBAE40"/>
          </p15:clr>
        </p15:guide>
        <p15:guide id="2" pos="240">
          <p15:clr>
            <a:srgbClr val="FBAE40"/>
          </p15:clr>
        </p15:guide>
        <p15:guide id="3" orient="horz" pos="4104">
          <p15:clr>
            <a:srgbClr val="FBAE40"/>
          </p15:clr>
        </p15:guide>
        <p15:guide id="4" pos="4344">
          <p15:clr>
            <a:srgbClr val="FBAE40"/>
          </p15:clr>
        </p15:guide>
        <p15:guide id="5" pos="4560">
          <p15:clr>
            <a:srgbClr val="FBAE40"/>
          </p15:clr>
        </p15:guide>
        <p15:guide id="6" pos="7296">
          <p15:clr>
            <a:srgbClr val="FBAE40"/>
          </p15:clr>
        </p15:guide>
        <p15:guide id="7" orient="horz" pos="1320">
          <p15:clr>
            <a:srgbClr val="FBAE40"/>
          </p15:clr>
        </p15:guide>
        <p15:guide id="8" orient="horz" pos="32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lank">
    <p:bg>
      <p:bgPr>
        <a:solidFill>
          <a:schemeClr val="bg2">
            <a:lumMod val="25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26AB21F-2F30-1FE3-6171-BBD7CF60AA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64076" y="5247481"/>
            <a:ext cx="1463848" cy="911171"/>
          </a:xfrm>
          <a:prstGeom prst="rect">
            <a:avLst/>
          </a:prstGeom>
        </p:spPr>
      </p:pic>
      <p:sp>
        <p:nvSpPr>
          <p:cNvPr id="3" name="Text Placeholder 2">
            <a:extLst>
              <a:ext uri="{FF2B5EF4-FFF2-40B4-BE49-F238E27FC236}">
                <a16:creationId xmlns:a16="http://schemas.microsoft.com/office/drawing/2014/main" id="{A04D791E-D2A2-4EAA-F215-B538380A1461}"/>
              </a:ext>
            </a:extLst>
          </p:cNvPr>
          <p:cNvSpPr>
            <a:spLocks noGrp="1"/>
          </p:cNvSpPr>
          <p:nvPr>
            <p:ph type="body" sz="quarter" idx="10" hasCustomPrompt="1"/>
          </p:nvPr>
        </p:nvSpPr>
        <p:spPr>
          <a:xfrm>
            <a:off x="4419600" y="1708970"/>
            <a:ext cx="3352800" cy="276998"/>
          </a:xfrm>
        </p:spPr>
        <p:txBody>
          <a:bodyPr/>
          <a:lstStyle>
            <a:lvl1pPr marL="0" indent="0" algn="ctr">
              <a:buNone/>
              <a:defRPr sz="1400" b="1" spc="300">
                <a:solidFill>
                  <a:schemeClr val="bg2">
                    <a:lumMod val="75000"/>
                  </a:schemeClr>
                </a:solidFill>
              </a:defRPr>
            </a:lvl1pPr>
          </a:lstStyle>
          <a:p>
            <a:pPr lvl="0"/>
            <a:r>
              <a:rPr lang="en-US"/>
              <a:t>SECTION NUMBER</a:t>
            </a:r>
          </a:p>
        </p:txBody>
      </p:sp>
      <p:sp>
        <p:nvSpPr>
          <p:cNvPr id="5" name="Text Placeholder 4">
            <a:extLst>
              <a:ext uri="{FF2B5EF4-FFF2-40B4-BE49-F238E27FC236}">
                <a16:creationId xmlns:a16="http://schemas.microsoft.com/office/drawing/2014/main" id="{A5CA1E4D-1417-8192-DFA9-A11BEB5F03B4}"/>
              </a:ext>
            </a:extLst>
          </p:cNvPr>
          <p:cNvSpPr>
            <a:spLocks noGrp="1"/>
          </p:cNvSpPr>
          <p:nvPr>
            <p:ph type="body" sz="quarter" idx="11" hasCustomPrompt="1"/>
          </p:nvPr>
        </p:nvSpPr>
        <p:spPr>
          <a:xfrm>
            <a:off x="1290638" y="2148687"/>
            <a:ext cx="9844087" cy="911171"/>
          </a:xfrm>
        </p:spPr>
        <p:txBody>
          <a:bodyPr/>
          <a:lstStyle>
            <a:lvl1pPr marL="0" indent="0" algn="ctr">
              <a:buNone/>
              <a:defRPr sz="4800" b="0" i="0">
                <a:solidFill>
                  <a:schemeClr val="bg1"/>
                </a:solidFill>
                <a:latin typeface="Roboto Slab Light" pitchFamily="2" charset="0"/>
                <a:ea typeface="Roboto Slab Light" pitchFamily="2" charset="0"/>
              </a:defRPr>
            </a:lvl1pPr>
          </a:lstStyle>
          <a:p>
            <a:pPr lvl="0"/>
            <a:r>
              <a:rPr lang="en-US"/>
              <a:t>Section Title</a:t>
            </a:r>
          </a:p>
        </p:txBody>
      </p:sp>
    </p:spTree>
    <p:extLst>
      <p:ext uri="{BB962C8B-B14F-4D97-AF65-F5344CB8AC3E}">
        <p14:creationId xmlns:p14="http://schemas.microsoft.com/office/powerpoint/2010/main" val="23765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Large Photo Righ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318FC55D-C4A7-8F45-8F50-2EAE7BCFD477}"/>
              </a:ext>
            </a:extLst>
          </p:cNvPr>
          <p:cNvSpPr>
            <a:spLocks noGrp="1"/>
          </p:cNvSpPr>
          <p:nvPr>
            <p:ph type="pic" sz="quarter" idx="13"/>
          </p:nvPr>
        </p:nvSpPr>
        <p:spPr>
          <a:xfrm>
            <a:off x="5278680" y="334963"/>
            <a:ext cx="6492875" cy="6157912"/>
          </a:xfrm>
        </p:spPr>
        <p:txBody>
          <a:bodyPr/>
          <a:lstStyle/>
          <a:p>
            <a:r>
              <a:rPr lang="en-US"/>
              <a:t>Click icon to add picture</a:t>
            </a:r>
          </a:p>
        </p:txBody>
      </p:sp>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09600" y="1803396"/>
            <a:ext cx="4300921" cy="3092696"/>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44631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92">
          <p15:clr>
            <a:srgbClr val="FBAE40"/>
          </p15:clr>
        </p15:guide>
        <p15:guide id="2" pos="384">
          <p15:clr>
            <a:srgbClr val="FBAE40"/>
          </p15:clr>
        </p15:guide>
        <p15:guide id="3" orient="horz" pos="4104">
          <p15:clr>
            <a:srgbClr val="FBAE40"/>
          </p15:clr>
        </p15:guide>
        <p15:guide id="4" pos="3096">
          <p15:clr>
            <a:srgbClr val="FBAE40"/>
          </p15:clr>
        </p15:guide>
        <p15:guide id="5" pos="3312">
          <p15:clr>
            <a:srgbClr val="FBAE40"/>
          </p15:clr>
        </p15:guide>
        <p15:guide id="6" pos="7416">
          <p15:clr>
            <a:srgbClr val="FBAE40"/>
          </p15:clr>
        </p15:guide>
        <p15:guide id="7" orient="horz" pos="1128">
          <p15:clr>
            <a:srgbClr val="FBAE40"/>
          </p15:clr>
        </p15:guide>
        <p15:guide id="8" orient="horz" pos="309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bg>
      <p:bgPr>
        <a:solidFill>
          <a:schemeClr val="bg2">
            <a:lumMod val="25000"/>
          </a:schemeClr>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622B734-346C-A938-5518-B6039C2208F5}"/>
              </a:ext>
            </a:extLst>
          </p:cNvPr>
          <p:cNvSpPr>
            <a:spLocks noGrp="1"/>
          </p:cNvSpPr>
          <p:nvPr>
            <p:ph type="body" sz="quarter" idx="10"/>
          </p:nvPr>
        </p:nvSpPr>
        <p:spPr>
          <a:xfrm>
            <a:off x="1503363" y="1147763"/>
            <a:ext cx="8940800" cy="4176712"/>
          </a:xfrm>
        </p:spPr>
        <p:txBody>
          <a:bodyPr/>
          <a:lstStyle>
            <a:lvl1pPr marL="0" indent="0" algn="ctr">
              <a:buNone/>
              <a:defRPr sz="2800">
                <a:solidFill>
                  <a:schemeClr val="bg1"/>
                </a:solidFill>
                <a:latin typeface="+mn-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1" name="Text Placeholder 10">
            <a:extLst>
              <a:ext uri="{FF2B5EF4-FFF2-40B4-BE49-F238E27FC236}">
                <a16:creationId xmlns:a16="http://schemas.microsoft.com/office/drawing/2014/main" id="{09F8B6C5-BE26-96AB-9D43-0A3A3AAB9726}"/>
              </a:ext>
            </a:extLst>
          </p:cNvPr>
          <p:cNvSpPr>
            <a:spLocks noGrp="1"/>
          </p:cNvSpPr>
          <p:nvPr>
            <p:ph type="body" sz="quarter" idx="11" hasCustomPrompt="1"/>
          </p:nvPr>
        </p:nvSpPr>
        <p:spPr>
          <a:xfrm>
            <a:off x="1503363" y="5597525"/>
            <a:ext cx="8940800" cy="752475"/>
          </a:xfrm>
        </p:spPr>
        <p:txBody>
          <a:bodyPr/>
          <a:lstStyle>
            <a:lvl1pPr marL="0" indent="0" algn="ctr">
              <a:buNone/>
              <a:defRPr sz="2000">
                <a:solidFill>
                  <a:schemeClr val="bg2">
                    <a:lumMod val="75000"/>
                  </a:schemeClr>
                </a:solidFill>
              </a:defRPr>
            </a:lvl1pPr>
          </a:lstStyle>
          <a:p>
            <a:pPr lvl="0"/>
            <a:r>
              <a:rPr lang="en-US" sz="2400"/>
              <a:t>— Attribution</a:t>
            </a:r>
            <a:endParaRPr lang="en-US"/>
          </a:p>
        </p:txBody>
      </p:sp>
    </p:spTree>
    <p:extLst>
      <p:ext uri="{BB962C8B-B14F-4D97-AF65-F5344CB8AC3E}">
        <p14:creationId xmlns:p14="http://schemas.microsoft.com/office/powerpoint/2010/main" val="201161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Blank">
    <p:bg>
      <p:bgPr>
        <a:solidFill>
          <a:schemeClr val="bg2">
            <a:lumMod val="25000"/>
          </a:scheme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26AB21F-2F30-1FE3-6171-BBD7CF60AA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64076" y="5247481"/>
            <a:ext cx="1463848" cy="911171"/>
          </a:xfrm>
          <a:prstGeom prst="rect">
            <a:avLst/>
          </a:prstGeom>
        </p:spPr>
      </p:pic>
      <p:sp>
        <p:nvSpPr>
          <p:cNvPr id="3" name="Text Placeholder 2">
            <a:extLst>
              <a:ext uri="{FF2B5EF4-FFF2-40B4-BE49-F238E27FC236}">
                <a16:creationId xmlns:a16="http://schemas.microsoft.com/office/drawing/2014/main" id="{A04D791E-D2A2-4EAA-F215-B538380A1461}"/>
              </a:ext>
            </a:extLst>
          </p:cNvPr>
          <p:cNvSpPr>
            <a:spLocks noGrp="1"/>
          </p:cNvSpPr>
          <p:nvPr>
            <p:ph type="body" sz="quarter" idx="10" hasCustomPrompt="1"/>
          </p:nvPr>
        </p:nvSpPr>
        <p:spPr>
          <a:xfrm>
            <a:off x="4419600" y="1708970"/>
            <a:ext cx="3352800" cy="276998"/>
          </a:xfrm>
        </p:spPr>
        <p:txBody>
          <a:bodyPr/>
          <a:lstStyle>
            <a:lvl1pPr marL="0" indent="0" algn="ctr">
              <a:buNone/>
              <a:defRPr sz="1400" b="1" spc="300">
                <a:solidFill>
                  <a:schemeClr val="bg2">
                    <a:lumMod val="75000"/>
                  </a:schemeClr>
                </a:solidFill>
              </a:defRPr>
            </a:lvl1pPr>
          </a:lstStyle>
          <a:p>
            <a:pPr lvl="0"/>
            <a:r>
              <a:rPr lang="en-US"/>
              <a:t>SECTION NUMBER</a:t>
            </a:r>
          </a:p>
        </p:txBody>
      </p:sp>
      <p:sp>
        <p:nvSpPr>
          <p:cNvPr id="5" name="Text Placeholder 4">
            <a:extLst>
              <a:ext uri="{FF2B5EF4-FFF2-40B4-BE49-F238E27FC236}">
                <a16:creationId xmlns:a16="http://schemas.microsoft.com/office/drawing/2014/main" id="{A5CA1E4D-1417-8192-DFA9-A11BEB5F03B4}"/>
              </a:ext>
            </a:extLst>
          </p:cNvPr>
          <p:cNvSpPr>
            <a:spLocks noGrp="1"/>
          </p:cNvSpPr>
          <p:nvPr>
            <p:ph type="body" sz="quarter" idx="11" hasCustomPrompt="1"/>
          </p:nvPr>
        </p:nvSpPr>
        <p:spPr>
          <a:xfrm>
            <a:off x="1290638" y="2148687"/>
            <a:ext cx="9844087" cy="911171"/>
          </a:xfrm>
        </p:spPr>
        <p:txBody>
          <a:bodyPr/>
          <a:lstStyle>
            <a:lvl1pPr marL="0" indent="0" algn="ctr">
              <a:buNone/>
              <a:defRPr sz="4800" b="0" i="0">
                <a:solidFill>
                  <a:schemeClr val="bg1"/>
                </a:solidFill>
                <a:latin typeface="Roboto Slab Light" pitchFamily="2" charset="0"/>
                <a:ea typeface="Roboto Slab Light" pitchFamily="2" charset="0"/>
              </a:defRPr>
            </a:lvl1pPr>
          </a:lstStyle>
          <a:p>
            <a:pPr lvl="0"/>
            <a:r>
              <a:rPr lang="en-US"/>
              <a:t>Section Title</a:t>
            </a:r>
          </a:p>
        </p:txBody>
      </p:sp>
    </p:spTree>
    <p:extLst>
      <p:ext uri="{BB962C8B-B14F-4D97-AF65-F5344CB8AC3E}">
        <p14:creationId xmlns:p14="http://schemas.microsoft.com/office/powerpoint/2010/main" val="139182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p:nvSpPr>
        <p:spPr>
          <a:xfrm>
            <a:off x="0" y="0"/>
            <a:ext cx="290524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AD640983-E937-314A-B3A2-6D94622DDCB1}"/>
              </a:ext>
            </a:extLst>
          </p:cNvPr>
          <p:cNvSpPr>
            <a:spLocks noGrp="1"/>
          </p:cNvSpPr>
          <p:nvPr>
            <p:ph type="pic" sz="quarter" idx="13"/>
          </p:nvPr>
        </p:nvSpPr>
        <p:spPr>
          <a:xfrm>
            <a:off x="1666875" y="1608138"/>
            <a:ext cx="2743200" cy="3692525"/>
          </a:xfrm>
          <a:ln w="127000">
            <a:noFill/>
            <a:miter lim="800000"/>
          </a:ln>
        </p:spPr>
        <p:txBody>
          <a:bodyPr/>
          <a:lstStyle/>
          <a:p>
            <a:r>
              <a:rPr lang="en-US"/>
              <a:t>Click icon to add picture</a:t>
            </a:r>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4826001" y="2029493"/>
            <a:ext cx="675640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4826001" y="4868696"/>
            <a:ext cx="6756400" cy="427204"/>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12" name="Rectangle 11">
            <a:extLst>
              <a:ext uri="{FF2B5EF4-FFF2-40B4-BE49-F238E27FC236}">
                <a16:creationId xmlns:a16="http://schemas.microsoft.com/office/drawing/2014/main" id="{1D9C8ABF-840F-C244-8C12-AAE9A6944A58}"/>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9BA87FFA-3859-BD9A-8CA0-C87F8800741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479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008">
          <p15:clr>
            <a:srgbClr val="FBAE40"/>
          </p15:clr>
        </p15:guide>
        <p15:guide id="2" pos="3024">
          <p15:clr>
            <a:srgbClr val="FBAE40"/>
          </p15:clr>
        </p15:guide>
        <p15:guide id="3" pos="1056">
          <p15:clr>
            <a:srgbClr val="FBAE40"/>
          </p15:clr>
        </p15:guide>
        <p15:guide id="4" orient="horz" pos="1272">
          <p15:clr>
            <a:srgbClr val="FBAE40"/>
          </p15:clr>
        </p15:guide>
        <p15:guide id="5" orient="horz" pos="3000">
          <p15:clr>
            <a:srgbClr val="FBAE40"/>
          </p15:clr>
        </p15:guide>
        <p15:guide id="6" orient="horz" pos="3072">
          <p15:clr>
            <a:srgbClr val="FBAE40"/>
          </p15:clr>
        </p15:guide>
        <p15:guide id="7" orient="horz" pos="3336">
          <p15:clr>
            <a:srgbClr val="FBAE40"/>
          </p15:clr>
        </p15:guide>
        <p15:guide id="8" orient="horz" pos="3360">
          <p15:clr>
            <a:srgbClr val="FBAE40"/>
          </p15:clr>
        </p15:guide>
        <p15:guide id="9" pos="729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1483361" y="1548050"/>
            <a:ext cx="7955280" cy="2720050"/>
          </a:xfrm>
        </p:spPr>
        <p:txBody>
          <a:bodyPr anchor="ctr" anchorCtr="0">
            <a:normAutofit/>
          </a:bodyPr>
          <a:lstStyle>
            <a:lvl1pPr marL="0" indent="0">
              <a:buNone/>
              <a:defRPr sz="3200" b="0" i="0">
                <a:latin typeface="Roboto Slab Light" pitchFamily="2" charset="0"/>
                <a:ea typeface="Roboto Slab Light" pitchFamily="2" charset="0"/>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1483361" y="4407218"/>
            <a:ext cx="7955280" cy="404812"/>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8" name="Rectangle 7">
            <a:extLst>
              <a:ext uri="{FF2B5EF4-FFF2-40B4-BE49-F238E27FC236}">
                <a16:creationId xmlns:a16="http://schemas.microsoft.com/office/drawing/2014/main" id="{FE7D37EF-F47E-7646-A640-53C869243F0F}"/>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75A77745-9FC9-1412-00DF-C2B7847590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
        <p:nvSpPr>
          <p:cNvPr id="4" name="Rectangle 3">
            <a:extLst>
              <a:ext uri="{FF2B5EF4-FFF2-40B4-BE49-F238E27FC236}">
                <a16:creationId xmlns:a16="http://schemas.microsoft.com/office/drawing/2014/main" id="{5034FE90-BA29-7692-AE19-2BA295005A46}"/>
              </a:ext>
            </a:extLst>
          </p:cNvPr>
          <p:cNvSpPr/>
          <p:nvPr userDrawn="1"/>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CF892BB-0E71-D87C-3452-85DB33904D54}"/>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7" name="Graphic 6">
            <a:extLst>
              <a:ext uri="{FF2B5EF4-FFF2-40B4-BE49-F238E27FC236}">
                <a16:creationId xmlns:a16="http://schemas.microsoft.com/office/drawing/2014/main" id="{D1963D22-AC0C-0DC8-9F87-A6D5C9AA72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01623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960" userDrawn="1">
          <p15:clr>
            <a:srgbClr val="FBAE40"/>
          </p15:clr>
        </p15:guide>
        <p15:guide id="8" pos="936" userDrawn="1">
          <p15:clr>
            <a:srgbClr val="FBAE40"/>
          </p15:clr>
        </p15:guide>
        <p15:guide id="9" pos="5952" userDrawn="1">
          <p15:clr>
            <a:srgbClr val="FBAE40"/>
          </p15:clr>
        </p15:guide>
        <p15:guide id="10" orient="horz" pos="2688" userDrawn="1">
          <p15:clr>
            <a:srgbClr val="FBAE40"/>
          </p15:clr>
        </p15:guide>
        <p15:guide id="11" orient="horz" pos="2760" userDrawn="1">
          <p15:clr>
            <a:srgbClr val="FBAE40"/>
          </p15:clr>
        </p15:guide>
        <p15:guide id="12" orient="horz" pos="3024"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with Log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5" name="Rectangle 4">
            <a:extLst>
              <a:ext uri="{FF2B5EF4-FFF2-40B4-BE49-F238E27FC236}">
                <a16:creationId xmlns:a16="http://schemas.microsoft.com/office/drawing/2014/main" id="{30F14312-84C0-444B-A37B-78B6E7600AE4}"/>
              </a:ext>
            </a:extLst>
          </p:cNvPr>
          <p:cNvSpPr/>
          <p:nvPr/>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3468927D-873E-6F5C-21DE-8BB60E3898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320859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764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losing Sla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F5234B-206E-8947-ACA6-B098E14C8FB0}"/>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2" name="Graphic 1">
            <a:extLst>
              <a:ext uri="{FF2B5EF4-FFF2-40B4-BE49-F238E27FC236}">
                <a16:creationId xmlns:a16="http://schemas.microsoft.com/office/drawing/2014/main" id="{9A3D6B5A-383E-41D5-8F77-DB7ACDD451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
        <p:nvSpPr>
          <p:cNvPr id="3" name="Rectangle 2">
            <a:extLst>
              <a:ext uri="{FF2B5EF4-FFF2-40B4-BE49-F238E27FC236}">
                <a16:creationId xmlns:a16="http://schemas.microsoft.com/office/drawing/2014/main" id="{116C694F-B532-4C48-2144-B7886C152244}"/>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4" name="Graphic 3">
            <a:extLst>
              <a:ext uri="{FF2B5EF4-FFF2-40B4-BE49-F238E27FC236}">
                <a16:creationId xmlns:a16="http://schemas.microsoft.com/office/drawing/2014/main" id="{3F934EB4-8B5E-5BC3-AB5C-E2A4C5C42F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60540" y="2597744"/>
            <a:ext cx="2670921" cy="1662512"/>
          </a:xfrm>
          <a:prstGeom prst="rect">
            <a:avLst/>
          </a:prstGeom>
        </p:spPr>
      </p:pic>
    </p:spTree>
    <p:extLst>
      <p:ext uri="{BB962C8B-B14F-4D97-AF65-F5344CB8AC3E}">
        <p14:creationId xmlns:p14="http://schemas.microsoft.com/office/powerpoint/2010/main" val="232453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Slide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41F5D6-71C7-8540-A903-95BE29BA587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4B70C23-CE74-FE49-A806-7EA59C5E4690}"/>
              </a:ext>
            </a:extLst>
          </p:cNvPr>
          <p:cNvPicPr>
            <a:picLocks noChangeAspect="1"/>
          </p:cNvPicPr>
          <p:nvPr userDrawn="1"/>
        </p:nvPicPr>
        <p:blipFill>
          <a:blip r:embed="rId2">
            <a:alphaModFix amt="35000"/>
          </a:blip>
          <a:stretch>
            <a:fillRect/>
          </a:stretch>
        </p:blipFill>
        <p:spPr>
          <a:xfrm>
            <a:off x="2782206" y="0"/>
            <a:ext cx="8078932" cy="6858000"/>
          </a:xfrm>
          <a:prstGeom prst="rect">
            <a:avLst/>
          </a:prstGeom>
        </p:spPr>
      </p:pic>
      <p:sp>
        <p:nvSpPr>
          <p:cNvPr id="2" name="Title 1">
            <a:extLst>
              <a:ext uri="{FF2B5EF4-FFF2-40B4-BE49-F238E27FC236}">
                <a16:creationId xmlns:a16="http://schemas.microsoft.com/office/drawing/2014/main" id="{5E6B7153-126F-D241-BC17-23723800DA8E}"/>
              </a:ext>
            </a:extLst>
          </p:cNvPr>
          <p:cNvSpPr>
            <a:spLocks noGrp="1"/>
          </p:cNvSpPr>
          <p:nvPr>
            <p:ph type="title"/>
          </p:nvPr>
        </p:nvSpPr>
        <p:spPr>
          <a:xfrm>
            <a:off x="650240" y="3616960"/>
            <a:ext cx="8227542" cy="1312075"/>
          </a:xfrm>
        </p:spPr>
        <p:txBody>
          <a:bodyPr anchor="b" anchorCtr="0"/>
          <a:lstStyle>
            <a:lvl1pPr algn="l">
              <a:defRPr sz="5400" b="0" i="0">
                <a:solidFill>
                  <a:schemeClr val="bg2">
                    <a:lumMod val="25000"/>
                  </a:schemeClr>
                </a:solidFill>
                <a:latin typeface="+mj-lt"/>
                <a:cs typeface="Calibri" panose="020F0502020204030204" pitchFamily="34" charset="0"/>
              </a:defRPr>
            </a:lvl1pPr>
          </a:lstStyle>
          <a:p>
            <a:r>
              <a:rPr lang="en-US"/>
              <a:t>Click to edit Master title style</a:t>
            </a:r>
          </a:p>
        </p:txBody>
      </p:sp>
      <p:sp>
        <p:nvSpPr>
          <p:cNvPr id="14" name="Title 1">
            <a:extLst>
              <a:ext uri="{FF2B5EF4-FFF2-40B4-BE49-F238E27FC236}">
                <a16:creationId xmlns:a16="http://schemas.microsoft.com/office/drawing/2014/main" id="{8EB26B32-06CE-7743-B082-7648A0284080}"/>
              </a:ext>
            </a:extLst>
          </p:cNvPr>
          <p:cNvSpPr txBox="1">
            <a:spLocks/>
          </p:cNvSpPr>
          <p:nvPr userDrawn="1"/>
        </p:nvSpPr>
        <p:spPr>
          <a:xfrm>
            <a:off x="650240" y="4953000"/>
            <a:ext cx="8227542" cy="1312075"/>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5400" b="0" i="0" kern="1200">
                <a:solidFill>
                  <a:schemeClr val="bg1"/>
                </a:solidFill>
                <a:latin typeface="+mj-lt"/>
                <a:ea typeface="+mj-ea"/>
                <a:cs typeface="Calibri" panose="020F0502020204030204" pitchFamily="34" charset="0"/>
              </a:defRPr>
            </a:lvl1pPr>
          </a:lstStyle>
          <a:p>
            <a:endParaRPr lang="en-US" sz="3600" i="1"/>
          </a:p>
        </p:txBody>
      </p:sp>
      <p:sp>
        <p:nvSpPr>
          <p:cNvPr id="18" name="Text Placeholder 17">
            <a:extLst>
              <a:ext uri="{FF2B5EF4-FFF2-40B4-BE49-F238E27FC236}">
                <a16:creationId xmlns:a16="http://schemas.microsoft.com/office/drawing/2014/main" id="{5A921F85-DFB0-C94F-B82E-F2E18576B068}"/>
              </a:ext>
            </a:extLst>
          </p:cNvPr>
          <p:cNvSpPr>
            <a:spLocks noGrp="1"/>
          </p:cNvSpPr>
          <p:nvPr>
            <p:ph type="body" sz="quarter" idx="10" hasCustomPrompt="1"/>
          </p:nvPr>
        </p:nvSpPr>
        <p:spPr>
          <a:xfrm>
            <a:off x="646113" y="5029200"/>
            <a:ext cx="8251825" cy="1238250"/>
          </a:xfrm>
        </p:spPr>
        <p:txBody>
          <a:bodyPr anchor="t" anchorCtr="0"/>
          <a:lstStyle>
            <a:lvl1pPr marL="0" indent="0">
              <a:buNone/>
              <a:defRPr sz="3200" i="1">
                <a:solidFill>
                  <a:schemeClr val="bg2">
                    <a:lumMod val="25000"/>
                  </a:schemeClr>
                </a:solidFill>
                <a:latin typeface="+mj-lt"/>
              </a:defRPr>
            </a:lvl1pPr>
            <a:lvl2pPr marL="457200" indent="0">
              <a:buNone/>
              <a:defRPr sz="3600">
                <a:solidFill>
                  <a:schemeClr val="bg1"/>
                </a:solidFill>
                <a:latin typeface="+mj-lt"/>
              </a:defRPr>
            </a:lvl2pPr>
            <a:lvl3pPr marL="914400" indent="0">
              <a:buNone/>
              <a:defRPr sz="3600">
                <a:solidFill>
                  <a:schemeClr val="bg1"/>
                </a:solidFill>
                <a:latin typeface="+mj-lt"/>
              </a:defRPr>
            </a:lvl3pPr>
            <a:lvl4pPr marL="1371600" indent="0">
              <a:buNone/>
              <a:defRPr sz="3600">
                <a:solidFill>
                  <a:schemeClr val="bg1"/>
                </a:solidFill>
                <a:latin typeface="+mj-lt"/>
              </a:defRPr>
            </a:lvl4pPr>
            <a:lvl5pPr marL="1828800" indent="0">
              <a:buNone/>
              <a:defRPr sz="3600">
                <a:solidFill>
                  <a:schemeClr val="bg1"/>
                </a:solidFill>
                <a:latin typeface="+mj-lt"/>
              </a:defRPr>
            </a:lvl5pPr>
          </a:lstStyle>
          <a:p>
            <a:pPr lvl="0"/>
            <a:r>
              <a:rPr lang="en-US"/>
              <a:t>Click to edit Master sub title</a:t>
            </a:r>
          </a:p>
        </p:txBody>
      </p:sp>
      <p:pic>
        <p:nvPicPr>
          <p:cNvPr id="5" name="Graphic 4">
            <a:extLst>
              <a:ext uri="{FF2B5EF4-FFF2-40B4-BE49-F238E27FC236}">
                <a16:creationId xmlns:a16="http://schemas.microsoft.com/office/drawing/2014/main" id="{F46D4E3C-7F9C-880F-4424-22C22CA606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1330" y="590551"/>
            <a:ext cx="2299450" cy="1431290"/>
          </a:xfrm>
          <a:prstGeom prst="rect">
            <a:avLst/>
          </a:prstGeom>
        </p:spPr>
      </p:pic>
    </p:spTree>
    <p:extLst>
      <p:ext uri="{BB962C8B-B14F-4D97-AF65-F5344CB8AC3E}">
        <p14:creationId xmlns:p14="http://schemas.microsoft.com/office/powerpoint/2010/main" val="417967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73BE32-2348-6240-ADA3-6900CAF09F0B}"/>
              </a:ext>
            </a:extLst>
          </p:cNvPr>
          <p:cNvSpPr>
            <a:spLocks noGrp="1"/>
          </p:cNvSpPr>
          <p:nvPr>
            <p:ph type="sldNum" sz="quarter" idx="12"/>
          </p:nvPr>
        </p:nvSpPr>
        <p:spPr/>
        <p:txBody>
          <a:bodyPr/>
          <a:lstStyle/>
          <a:p>
            <a:fld id="{6DD660AA-F4B9-9E4A-970E-DF14D91E0EC0}" type="slidenum">
              <a:rPr lang="en-US" smtClean="0"/>
              <a:t>‹#›</a:t>
            </a:fld>
            <a:endParaRPr lang="en-US"/>
          </a:p>
        </p:txBody>
      </p:sp>
      <p:sp>
        <p:nvSpPr>
          <p:cNvPr id="2" name="Rectangle 1">
            <a:extLst>
              <a:ext uri="{FF2B5EF4-FFF2-40B4-BE49-F238E27FC236}">
                <a16:creationId xmlns:a16="http://schemas.microsoft.com/office/drawing/2014/main" id="{28966518-0B53-0448-A378-BFBA91FB5B7A}"/>
              </a:ext>
            </a:extLst>
          </p:cNvPr>
          <p:cNvSpPr/>
          <p:nvPr userDrawn="1"/>
        </p:nvSpPr>
        <p:spPr>
          <a:xfrm>
            <a:off x="0" y="0"/>
            <a:ext cx="8331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9F07E31C-8290-1A40-A30F-16D9DC22A6CD}"/>
              </a:ext>
            </a:extLst>
          </p:cNvPr>
          <p:cNvSpPr>
            <a:spLocks noGrp="1"/>
          </p:cNvSpPr>
          <p:nvPr>
            <p:ph type="body" sz="quarter" idx="14" hasCustomPrompt="1"/>
          </p:nvPr>
        </p:nvSpPr>
        <p:spPr>
          <a:xfrm>
            <a:off x="1483361" y="1548050"/>
            <a:ext cx="7955280" cy="2720050"/>
          </a:xfrm>
        </p:spPr>
        <p:txBody>
          <a:bodyPr anchor="ctr" anchorCtr="0">
            <a:normAutofit/>
          </a:bodyPr>
          <a:lstStyle>
            <a:lvl1pPr marL="0" indent="0">
              <a:buNone/>
              <a:defRPr sz="3200">
                <a:latin typeface="+mj-lt"/>
              </a:defRPr>
            </a:lvl1pPr>
          </a:lstStyle>
          <a:p>
            <a:pPr lvl="0"/>
            <a:r>
              <a:rPr lang="en-US"/>
              <a:t>“Quote.”</a:t>
            </a:r>
          </a:p>
        </p:txBody>
      </p:sp>
      <p:sp>
        <p:nvSpPr>
          <p:cNvPr id="13" name="Text Placeholder 12">
            <a:extLst>
              <a:ext uri="{FF2B5EF4-FFF2-40B4-BE49-F238E27FC236}">
                <a16:creationId xmlns:a16="http://schemas.microsoft.com/office/drawing/2014/main" id="{73DC3D47-848D-FB41-9D89-A789C15C5AF1}"/>
              </a:ext>
            </a:extLst>
          </p:cNvPr>
          <p:cNvSpPr>
            <a:spLocks noGrp="1"/>
          </p:cNvSpPr>
          <p:nvPr>
            <p:ph type="body" sz="quarter" idx="15" hasCustomPrompt="1"/>
          </p:nvPr>
        </p:nvSpPr>
        <p:spPr>
          <a:xfrm>
            <a:off x="1483361" y="4407218"/>
            <a:ext cx="7955280" cy="404812"/>
          </a:xfrm>
        </p:spPr>
        <p:txBody>
          <a:bodyPr tIns="91440">
            <a:noAutofit/>
          </a:bodyPr>
          <a:lstStyle>
            <a:lvl1pPr marL="0" indent="0">
              <a:lnSpc>
                <a:spcPts val="880"/>
              </a:lnSpc>
              <a:buNone/>
              <a:defRPr sz="1400" i="0">
                <a:solidFill>
                  <a:schemeClr val="tx2">
                    <a:lumMod val="60000"/>
                    <a:lumOff val="40000"/>
                  </a:schemeClr>
                </a:solidFill>
              </a:defRPr>
            </a:lvl1pPr>
          </a:lstStyle>
          <a:p>
            <a:pPr lvl="0"/>
            <a:r>
              <a:rPr lang="en-US"/>
              <a:t>NAME</a:t>
            </a:r>
          </a:p>
          <a:p>
            <a:pPr lvl="0"/>
            <a:r>
              <a:rPr lang="en-US"/>
              <a:t>Attribution</a:t>
            </a:r>
          </a:p>
        </p:txBody>
      </p:sp>
      <p:sp>
        <p:nvSpPr>
          <p:cNvPr id="8" name="Rectangle 7">
            <a:extLst>
              <a:ext uri="{FF2B5EF4-FFF2-40B4-BE49-F238E27FC236}">
                <a16:creationId xmlns:a16="http://schemas.microsoft.com/office/drawing/2014/main" id="{FE7D37EF-F47E-7646-A640-53C869243F0F}"/>
              </a:ext>
            </a:extLst>
          </p:cNvPr>
          <p:cNvSpPr/>
          <p:nvPr userDrawn="1"/>
        </p:nvSpPr>
        <p:spPr>
          <a:xfrm>
            <a:off x="10484312" y="0"/>
            <a:ext cx="1707688" cy="13599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328"/>
              </a:solidFill>
            </a:endParaRPr>
          </a:p>
        </p:txBody>
      </p:sp>
      <p:pic>
        <p:nvPicPr>
          <p:cNvPr id="3" name="Graphic 2">
            <a:extLst>
              <a:ext uri="{FF2B5EF4-FFF2-40B4-BE49-F238E27FC236}">
                <a16:creationId xmlns:a16="http://schemas.microsoft.com/office/drawing/2014/main" id="{75A77745-9FC9-1412-00DF-C2B78475905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5738" y="257728"/>
            <a:ext cx="1350962" cy="840905"/>
          </a:xfrm>
          <a:prstGeom prst="rect">
            <a:avLst/>
          </a:prstGeom>
        </p:spPr>
      </p:pic>
    </p:spTree>
    <p:extLst>
      <p:ext uri="{BB962C8B-B14F-4D97-AF65-F5344CB8AC3E}">
        <p14:creationId xmlns:p14="http://schemas.microsoft.com/office/powerpoint/2010/main" val="415196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userDrawn="1">
          <p15:clr>
            <a:srgbClr val="FBAE40"/>
          </p15:clr>
        </p15:guide>
        <p15:guide id="2" pos="936" userDrawn="1">
          <p15:clr>
            <a:srgbClr val="FBAE40"/>
          </p15:clr>
        </p15:guide>
        <p15:guide id="3" pos="5952" userDrawn="1">
          <p15:clr>
            <a:srgbClr val="FBAE40"/>
          </p15:clr>
        </p15:guide>
        <p15:guide id="4" orient="horz" pos="2688" userDrawn="1">
          <p15:clr>
            <a:srgbClr val="FBAE40"/>
          </p15:clr>
        </p15:guide>
        <p15:guide id="5" orient="horz" pos="2760" userDrawn="1">
          <p15:clr>
            <a:srgbClr val="FBAE40"/>
          </p15:clr>
        </p15:guide>
        <p15:guide id="6" orient="horz" pos="302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6.xml"/><Relationship Id="rId21" Type="http://schemas.openxmlformats.org/officeDocument/2006/relationships/slideLayout" Target="../slideLayouts/slideLayout30.xml"/><Relationship Id="rId42" Type="http://schemas.openxmlformats.org/officeDocument/2006/relationships/slideLayout" Target="../slideLayouts/slideLayout51.xml"/><Relationship Id="rId47" Type="http://schemas.openxmlformats.org/officeDocument/2006/relationships/slideLayout" Target="../slideLayouts/slideLayout56.xml"/><Relationship Id="rId63" Type="http://schemas.openxmlformats.org/officeDocument/2006/relationships/slideLayout" Target="../slideLayouts/slideLayout72.xml"/><Relationship Id="rId68" Type="http://schemas.openxmlformats.org/officeDocument/2006/relationships/slideLayout" Target="../slideLayouts/slideLayout77.xml"/><Relationship Id="rId84" Type="http://schemas.openxmlformats.org/officeDocument/2006/relationships/slideLayout" Target="../slideLayouts/slideLayout93.xml"/><Relationship Id="rId89" Type="http://schemas.openxmlformats.org/officeDocument/2006/relationships/slideLayout" Target="../slideLayouts/slideLayout98.xml"/><Relationship Id="rId112" Type="http://schemas.openxmlformats.org/officeDocument/2006/relationships/slideLayout" Target="../slideLayouts/slideLayout121.xml"/><Relationship Id="rId16" Type="http://schemas.openxmlformats.org/officeDocument/2006/relationships/slideLayout" Target="../slideLayouts/slideLayout25.xml"/><Relationship Id="rId107" Type="http://schemas.openxmlformats.org/officeDocument/2006/relationships/slideLayout" Target="../slideLayouts/slideLayout116.xml"/><Relationship Id="rId11" Type="http://schemas.openxmlformats.org/officeDocument/2006/relationships/slideLayout" Target="../slideLayouts/slideLayout20.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53" Type="http://schemas.openxmlformats.org/officeDocument/2006/relationships/slideLayout" Target="../slideLayouts/slideLayout62.xml"/><Relationship Id="rId58" Type="http://schemas.openxmlformats.org/officeDocument/2006/relationships/slideLayout" Target="../slideLayouts/slideLayout67.xml"/><Relationship Id="rId74" Type="http://schemas.openxmlformats.org/officeDocument/2006/relationships/slideLayout" Target="../slideLayouts/slideLayout83.xml"/><Relationship Id="rId79" Type="http://schemas.openxmlformats.org/officeDocument/2006/relationships/slideLayout" Target="../slideLayouts/slideLayout88.xml"/><Relationship Id="rId102" Type="http://schemas.openxmlformats.org/officeDocument/2006/relationships/slideLayout" Target="../slideLayouts/slideLayout111.xml"/><Relationship Id="rId123" Type="http://schemas.openxmlformats.org/officeDocument/2006/relationships/slideLayout" Target="../slideLayouts/slideLayout132.xml"/><Relationship Id="rId128" Type="http://schemas.openxmlformats.org/officeDocument/2006/relationships/slideLayout" Target="../slideLayouts/slideLayout137.xml"/><Relationship Id="rId5" Type="http://schemas.openxmlformats.org/officeDocument/2006/relationships/slideLayout" Target="../slideLayouts/slideLayout14.xml"/><Relationship Id="rId90" Type="http://schemas.openxmlformats.org/officeDocument/2006/relationships/slideLayout" Target="../slideLayouts/slideLayout99.xml"/><Relationship Id="rId95" Type="http://schemas.openxmlformats.org/officeDocument/2006/relationships/slideLayout" Target="../slideLayouts/slideLayout104.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64" Type="http://schemas.openxmlformats.org/officeDocument/2006/relationships/slideLayout" Target="../slideLayouts/slideLayout73.xml"/><Relationship Id="rId69" Type="http://schemas.openxmlformats.org/officeDocument/2006/relationships/slideLayout" Target="../slideLayouts/slideLayout78.xml"/><Relationship Id="rId113" Type="http://schemas.openxmlformats.org/officeDocument/2006/relationships/slideLayout" Target="../slideLayouts/slideLayout122.xml"/><Relationship Id="rId118" Type="http://schemas.openxmlformats.org/officeDocument/2006/relationships/slideLayout" Target="../slideLayouts/slideLayout127.xml"/><Relationship Id="rId80" Type="http://schemas.openxmlformats.org/officeDocument/2006/relationships/slideLayout" Target="../slideLayouts/slideLayout89.xml"/><Relationship Id="rId85" Type="http://schemas.openxmlformats.org/officeDocument/2006/relationships/slideLayout" Target="../slideLayouts/slideLayout94.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59" Type="http://schemas.openxmlformats.org/officeDocument/2006/relationships/slideLayout" Target="../slideLayouts/slideLayout68.xml"/><Relationship Id="rId103" Type="http://schemas.openxmlformats.org/officeDocument/2006/relationships/slideLayout" Target="../slideLayouts/slideLayout112.xml"/><Relationship Id="rId108" Type="http://schemas.openxmlformats.org/officeDocument/2006/relationships/slideLayout" Target="../slideLayouts/slideLayout117.xml"/><Relationship Id="rId124" Type="http://schemas.openxmlformats.org/officeDocument/2006/relationships/slideLayout" Target="../slideLayouts/slideLayout133.xml"/><Relationship Id="rId129" Type="http://schemas.openxmlformats.org/officeDocument/2006/relationships/theme" Target="../theme/theme2.xml"/><Relationship Id="rId54" Type="http://schemas.openxmlformats.org/officeDocument/2006/relationships/slideLayout" Target="../slideLayouts/slideLayout63.xml"/><Relationship Id="rId70" Type="http://schemas.openxmlformats.org/officeDocument/2006/relationships/slideLayout" Target="../slideLayouts/slideLayout79.xml"/><Relationship Id="rId75" Type="http://schemas.openxmlformats.org/officeDocument/2006/relationships/slideLayout" Target="../slideLayouts/slideLayout84.xml"/><Relationship Id="rId91" Type="http://schemas.openxmlformats.org/officeDocument/2006/relationships/slideLayout" Target="../slideLayouts/slideLayout100.xml"/><Relationship Id="rId96" Type="http://schemas.openxmlformats.org/officeDocument/2006/relationships/slideLayout" Target="../slideLayouts/slideLayout10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49" Type="http://schemas.openxmlformats.org/officeDocument/2006/relationships/slideLayout" Target="../slideLayouts/slideLayout58.xml"/><Relationship Id="rId114" Type="http://schemas.openxmlformats.org/officeDocument/2006/relationships/slideLayout" Target="../slideLayouts/slideLayout123.xml"/><Relationship Id="rId119" Type="http://schemas.openxmlformats.org/officeDocument/2006/relationships/slideLayout" Target="../slideLayouts/slideLayout128.xml"/><Relationship Id="rId44" Type="http://schemas.openxmlformats.org/officeDocument/2006/relationships/slideLayout" Target="../slideLayouts/slideLayout53.xml"/><Relationship Id="rId60" Type="http://schemas.openxmlformats.org/officeDocument/2006/relationships/slideLayout" Target="../slideLayouts/slideLayout69.xml"/><Relationship Id="rId65" Type="http://schemas.openxmlformats.org/officeDocument/2006/relationships/slideLayout" Target="../slideLayouts/slideLayout74.xml"/><Relationship Id="rId81" Type="http://schemas.openxmlformats.org/officeDocument/2006/relationships/slideLayout" Target="../slideLayouts/slideLayout90.xml"/><Relationship Id="rId86" Type="http://schemas.openxmlformats.org/officeDocument/2006/relationships/slideLayout" Target="../slideLayouts/slideLayout95.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9" Type="http://schemas.openxmlformats.org/officeDocument/2006/relationships/slideLayout" Target="../slideLayouts/slideLayout48.xml"/><Relationship Id="rId109" Type="http://schemas.openxmlformats.org/officeDocument/2006/relationships/slideLayout" Target="../slideLayouts/slideLayout118.xml"/><Relationship Id="rId34" Type="http://schemas.openxmlformats.org/officeDocument/2006/relationships/slideLayout" Target="../slideLayouts/slideLayout43.xml"/><Relationship Id="rId50" Type="http://schemas.openxmlformats.org/officeDocument/2006/relationships/slideLayout" Target="../slideLayouts/slideLayout59.xml"/><Relationship Id="rId55" Type="http://schemas.openxmlformats.org/officeDocument/2006/relationships/slideLayout" Target="../slideLayouts/slideLayout64.xml"/><Relationship Id="rId76" Type="http://schemas.openxmlformats.org/officeDocument/2006/relationships/slideLayout" Target="../slideLayouts/slideLayout85.xml"/><Relationship Id="rId97" Type="http://schemas.openxmlformats.org/officeDocument/2006/relationships/slideLayout" Target="../slideLayouts/slideLayout106.xml"/><Relationship Id="rId104" Type="http://schemas.openxmlformats.org/officeDocument/2006/relationships/slideLayout" Target="../slideLayouts/slideLayout113.xml"/><Relationship Id="rId120" Type="http://schemas.openxmlformats.org/officeDocument/2006/relationships/slideLayout" Target="../slideLayouts/slideLayout129.xml"/><Relationship Id="rId125" Type="http://schemas.openxmlformats.org/officeDocument/2006/relationships/slideLayout" Target="../slideLayouts/slideLayout134.xml"/><Relationship Id="rId7" Type="http://schemas.openxmlformats.org/officeDocument/2006/relationships/slideLayout" Target="../slideLayouts/slideLayout16.xml"/><Relationship Id="rId71" Type="http://schemas.openxmlformats.org/officeDocument/2006/relationships/slideLayout" Target="../slideLayouts/slideLayout80.xml"/><Relationship Id="rId92" Type="http://schemas.openxmlformats.org/officeDocument/2006/relationships/slideLayout" Target="../slideLayouts/slideLayout101.xml"/><Relationship Id="rId2" Type="http://schemas.openxmlformats.org/officeDocument/2006/relationships/slideLayout" Target="../slideLayouts/slideLayout11.xml"/><Relationship Id="rId29" Type="http://schemas.openxmlformats.org/officeDocument/2006/relationships/slideLayout" Target="../slideLayouts/slideLayout38.xml"/><Relationship Id="rId24" Type="http://schemas.openxmlformats.org/officeDocument/2006/relationships/slideLayout" Target="../slideLayouts/slideLayout33.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66" Type="http://schemas.openxmlformats.org/officeDocument/2006/relationships/slideLayout" Target="../slideLayouts/slideLayout75.xml"/><Relationship Id="rId87" Type="http://schemas.openxmlformats.org/officeDocument/2006/relationships/slideLayout" Target="../slideLayouts/slideLayout96.xml"/><Relationship Id="rId110" Type="http://schemas.openxmlformats.org/officeDocument/2006/relationships/slideLayout" Target="../slideLayouts/slideLayout119.xml"/><Relationship Id="rId115" Type="http://schemas.openxmlformats.org/officeDocument/2006/relationships/slideLayout" Target="../slideLayouts/slideLayout124.xml"/><Relationship Id="rId61" Type="http://schemas.openxmlformats.org/officeDocument/2006/relationships/slideLayout" Target="../slideLayouts/slideLayout70.xml"/><Relationship Id="rId82" Type="http://schemas.openxmlformats.org/officeDocument/2006/relationships/slideLayout" Target="../slideLayouts/slideLayout91.xml"/><Relationship Id="rId19" Type="http://schemas.openxmlformats.org/officeDocument/2006/relationships/slideLayout" Target="../slideLayouts/slideLayout28.xml"/><Relationship Id="rId14" Type="http://schemas.openxmlformats.org/officeDocument/2006/relationships/slideLayout" Target="../slideLayouts/slideLayout23.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56" Type="http://schemas.openxmlformats.org/officeDocument/2006/relationships/slideLayout" Target="../slideLayouts/slideLayout65.xml"/><Relationship Id="rId77" Type="http://schemas.openxmlformats.org/officeDocument/2006/relationships/slideLayout" Target="../slideLayouts/slideLayout86.xml"/><Relationship Id="rId100" Type="http://schemas.openxmlformats.org/officeDocument/2006/relationships/slideLayout" Target="../slideLayouts/slideLayout109.xml"/><Relationship Id="rId105" Type="http://schemas.openxmlformats.org/officeDocument/2006/relationships/slideLayout" Target="../slideLayouts/slideLayout114.xml"/><Relationship Id="rId126" Type="http://schemas.openxmlformats.org/officeDocument/2006/relationships/slideLayout" Target="../slideLayouts/slideLayout135.xml"/><Relationship Id="rId8" Type="http://schemas.openxmlformats.org/officeDocument/2006/relationships/slideLayout" Target="../slideLayouts/slideLayout17.xml"/><Relationship Id="rId51" Type="http://schemas.openxmlformats.org/officeDocument/2006/relationships/slideLayout" Target="../slideLayouts/slideLayout60.xml"/><Relationship Id="rId72" Type="http://schemas.openxmlformats.org/officeDocument/2006/relationships/slideLayout" Target="../slideLayouts/slideLayout81.xml"/><Relationship Id="rId93" Type="http://schemas.openxmlformats.org/officeDocument/2006/relationships/slideLayout" Target="../slideLayouts/slideLayout102.xml"/><Relationship Id="rId98" Type="http://schemas.openxmlformats.org/officeDocument/2006/relationships/slideLayout" Target="../slideLayouts/slideLayout107.xml"/><Relationship Id="rId121" Type="http://schemas.openxmlformats.org/officeDocument/2006/relationships/slideLayout" Target="../slideLayouts/slideLayout130.xml"/><Relationship Id="rId3" Type="http://schemas.openxmlformats.org/officeDocument/2006/relationships/slideLayout" Target="../slideLayouts/slideLayout12.xml"/><Relationship Id="rId25" Type="http://schemas.openxmlformats.org/officeDocument/2006/relationships/slideLayout" Target="../slideLayouts/slideLayout34.xml"/><Relationship Id="rId46" Type="http://schemas.openxmlformats.org/officeDocument/2006/relationships/slideLayout" Target="../slideLayouts/slideLayout55.xml"/><Relationship Id="rId67" Type="http://schemas.openxmlformats.org/officeDocument/2006/relationships/slideLayout" Target="../slideLayouts/slideLayout76.xml"/><Relationship Id="rId116" Type="http://schemas.openxmlformats.org/officeDocument/2006/relationships/slideLayout" Target="../slideLayouts/slideLayout125.xml"/><Relationship Id="rId20" Type="http://schemas.openxmlformats.org/officeDocument/2006/relationships/slideLayout" Target="../slideLayouts/slideLayout29.xml"/><Relationship Id="rId41" Type="http://schemas.openxmlformats.org/officeDocument/2006/relationships/slideLayout" Target="../slideLayouts/slideLayout50.xml"/><Relationship Id="rId62" Type="http://schemas.openxmlformats.org/officeDocument/2006/relationships/slideLayout" Target="../slideLayouts/slideLayout71.xml"/><Relationship Id="rId83" Type="http://schemas.openxmlformats.org/officeDocument/2006/relationships/slideLayout" Target="../slideLayouts/slideLayout92.xml"/><Relationship Id="rId88" Type="http://schemas.openxmlformats.org/officeDocument/2006/relationships/slideLayout" Target="../slideLayouts/slideLayout97.xml"/><Relationship Id="rId111" Type="http://schemas.openxmlformats.org/officeDocument/2006/relationships/slideLayout" Target="../slideLayouts/slideLayout120.xml"/><Relationship Id="rId15" Type="http://schemas.openxmlformats.org/officeDocument/2006/relationships/slideLayout" Target="../slideLayouts/slideLayout24.xml"/><Relationship Id="rId36" Type="http://schemas.openxmlformats.org/officeDocument/2006/relationships/slideLayout" Target="../slideLayouts/slideLayout45.xml"/><Relationship Id="rId57" Type="http://schemas.openxmlformats.org/officeDocument/2006/relationships/slideLayout" Target="../slideLayouts/slideLayout66.xml"/><Relationship Id="rId106" Type="http://schemas.openxmlformats.org/officeDocument/2006/relationships/slideLayout" Target="../slideLayouts/slideLayout115.xml"/><Relationship Id="rId127" Type="http://schemas.openxmlformats.org/officeDocument/2006/relationships/slideLayout" Target="../slideLayouts/slideLayout136.xml"/><Relationship Id="rId10" Type="http://schemas.openxmlformats.org/officeDocument/2006/relationships/slideLayout" Target="../slideLayouts/slideLayout19.xml"/><Relationship Id="rId31" Type="http://schemas.openxmlformats.org/officeDocument/2006/relationships/slideLayout" Target="../slideLayouts/slideLayout40.xml"/><Relationship Id="rId52" Type="http://schemas.openxmlformats.org/officeDocument/2006/relationships/slideLayout" Target="../slideLayouts/slideLayout61.xml"/><Relationship Id="rId73" Type="http://schemas.openxmlformats.org/officeDocument/2006/relationships/slideLayout" Target="../slideLayouts/slideLayout82.xml"/><Relationship Id="rId78" Type="http://schemas.openxmlformats.org/officeDocument/2006/relationships/slideLayout" Target="../slideLayouts/slideLayout87.xml"/><Relationship Id="rId94" Type="http://schemas.openxmlformats.org/officeDocument/2006/relationships/slideLayout" Target="../slideLayouts/slideLayout103.xml"/><Relationship Id="rId99" Type="http://schemas.openxmlformats.org/officeDocument/2006/relationships/slideLayout" Target="../slideLayouts/slideLayout108.xml"/><Relationship Id="rId101" Type="http://schemas.openxmlformats.org/officeDocument/2006/relationships/slideLayout" Target="../slideLayouts/slideLayout110.xml"/><Relationship Id="rId122" Type="http://schemas.openxmlformats.org/officeDocument/2006/relationships/slideLayout" Target="../slideLayouts/slideLayout13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26"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93C2FB-EF86-FD49-89EB-659751C15892}" type="slidenum">
              <a:rPr lang="en-US" smtClean="0"/>
              <a:t>‹#›</a:t>
            </a:fld>
            <a:endParaRPr lang="en-US"/>
          </a:p>
        </p:txBody>
      </p:sp>
    </p:spTree>
    <p:extLst>
      <p:ext uri="{BB962C8B-B14F-4D97-AF65-F5344CB8AC3E}">
        <p14:creationId xmlns:p14="http://schemas.microsoft.com/office/powerpoint/2010/main" val="2071181417"/>
      </p:ext>
    </p:extLst>
  </p:cSld>
  <p:clrMap bg1="lt1" tx1="dk1" bg2="lt2" tx2="dk2" accent1="accent1" accent2="accent2" accent3="accent3" accent4="accent4" accent5="accent5" accent6="accent6" hlink="hlink" folHlink="folHlink"/>
  <p:sldLayoutIdLst>
    <p:sldLayoutId id="2147483688" r:id="rId1"/>
    <p:sldLayoutId id="2147483831" r:id="rId2"/>
    <p:sldLayoutId id="2147483698" r:id="rId3"/>
    <p:sldLayoutId id="2147483827" r:id="rId4"/>
    <p:sldLayoutId id="2147483828" r:id="rId5"/>
    <p:sldLayoutId id="2147483829" r:id="rId6"/>
    <p:sldLayoutId id="2147483830" r:id="rId7"/>
    <p:sldLayoutId id="2147483832" r:id="rId8"/>
    <p:sldLayoutId id="214748387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94721D0-A2D8-C742-BA85-923E33488876}"/>
              </a:ext>
            </a:extLst>
          </p:cNvPr>
          <p:cNvSpPr>
            <a:spLocks noGrp="1"/>
          </p:cNvSpPr>
          <p:nvPr>
            <p:ph type="title"/>
          </p:nvPr>
        </p:nvSpPr>
        <p:spPr>
          <a:xfrm>
            <a:off x="416560" y="368135"/>
            <a:ext cx="7468656" cy="1312075"/>
          </a:xfrm>
          <a:prstGeom prst="rect">
            <a:avLst/>
          </a:prstGeom>
        </p:spPr>
        <p:txBody>
          <a:bodyPr vert="horz" wrap="square" lIns="0" tIns="0" rIns="0" bIns="0" rtlCol="0" anchor="ctr"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4A9D0E10-DAFC-CC47-8CE3-1FD5F861DBE8}"/>
              </a:ext>
            </a:extLst>
          </p:cNvPr>
          <p:cNvSpPr>
            <a:spLocks noGrp="1"/>
          </p:cNvSpPr>
          <p:nvPr>
            <p:ph type="body" idx="1"/>
          </p:nvPr>
        </p:nvSpPr>
        <p:spPr>
          <a:xfrm>
            <a:off x="406400" y="1825625"/>
            <a:ext cx="11368066" cy="4351338"/>
          </a:xfrm>
          <a:prstGeom prst="rect">
            <a:avLst/>
          </a:prstGeom>
        </p:spPr>
        <p:txBody>
          <a:bodyPr vert="horz" lIns="0" tIns="0" rIns="0" bIns="0" rtlCol="0" anchor="ctr"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DFC178-3DF8-E147-88FE-5D0230CD96B4}"/>
              </a:ext>
            </a:extLst>
          </p:cNvPr>
          <p:cNvSpPr>
            <a:spLocks noGrp="1"/>
          </p:cNvSpPr>
          <p:nvPr>
            <p:ph type="dt" sz="half" idx="2"/>
          </p:nvPr>
        </p:nvSpPr>
        <p:spPr>
          <a:xfrm>
            <a:off x="40132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394717B8-6640-F340-8337-0BAA676A625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34E9DC4-5146-1042-BA04-61BE8A99CEDA}"/>
              </a:ext>
            </a:extLst>
          </p:cNvPr>
          <p:cNvSpPr>
            <a:spLocks noGrp="1"/>
          </p:cNvSpPr>
          <p:nvPr>
            <p:ph type="sldNum" sz="quarter" idx="4"/>
          </p:nvPr>
        </p:nvSpPr>
        <p:spPr>
          <a:xfrm>
            <a:off x="9043208" y="633603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D660AA-F4B9-9E4A-970E-DF14D91E0EC0}" type="slidenum">
              <a:rPr lang="en-US" smtClean="0"/>
              <a:t>‹#›</a:t>
            </a:fld>
            <a:endParaRPr lang="en-US"/>
          </a:p>
        </p:txBody>
      </p:sp>
    </p:spTree>
    <p:extLst>
      <p:ext uri="{BB962C8B-B14F-4D97-AF65-F5344CB8AC3E}">
        <p14:creationId xmlns:p14="http://schemas.microsoft.com/office/powerpoint/2010/main" val="3448225862"/>
      </p:ext>
    </p:extLst>
  </p:cSld>
  <p:clrMap bg1="lt1" tx1="dk1" bg2="lt2" tx2="dk2" accent1="accent1" accent2="accent2" accent3="accent3" accent4="accent4" accent5="accent5" accent6="accent6" hlink="hlink" folHlink="folHlink"/>
  <p:sldLayoutIdLst>
    <p:sldLayoutId id="2147483866" r:id="rId1"/>
    <p:sldLayoutId id="2147483671" r:id="rId2"/>
    <p:sldLayoutId id="2147483867" r:id="rId3"/>
    <p:sldLayoutId id="2147483868" r:id="rId4"/>
    <p:sldLayoutId id="2147483869" r:id="rId5"/>
    <p:sldLayoutId id="2147483870" r:id="rId6"/>
    <p:sldLayoutId id="2147483706" r:id="rId7"/>
    <p:sldLayoutId id="2147483711" r:id="rId8"/>
    <p:sldLayoutId id="2147483673" r:id="rId9"/>
    <p:sldLayoutId id="2147483707" r:id="rId10"/>
    <p:sldLayoutId id="2147483712" r:id="rId11"/>
    <p:sldLayoutId id="2147483674" r:id="rId12"/>
    <p:sldLayoutId id="2147483708" r:id="rId13"/>
    <p:sldLayoutId id="2147483713" r:id="rId14"/>
    <p:sldLayoutId id="2147483709" r:id="rId15"/>
    <p:sldLayoutId id="2147483675" r:id="rId16"/>
    <p:sldLayoutId id="2147483714" r:id="rId17"/>
    <p:sldLayoutId id="2147483676" r:id="rId18"/>
    <p:sldLayoutId id="2147483710" r:id="rId19"/>
    <p:sldLayoutId id="2147483715" r:id="rId20"/>
    <p:sldLayoutId id="2147483677" r:id="rId21"/>
    <p:sldLayoutId id="2147483678" r:id="rId22"/>
    <p:sldLayoutId id="2147483754" r:id="rId23"/>
    <p:sldLayoutId id="2147483755" r:id="rId24"/>
    <p:sldLayoutId id="2147483756" r:id="rId25"/>
    <p:sldLayoutId id="2147483757" r:id="rId26"/>
    <p:sldLayoutId id="2147483753" r:id="rId27"/>
    <p:sldLayoutId id="2147483759" r:id="rId28"/>
    <p:sldLayoutId id="2147483760" r:id="rId29"/>
    <p:sldLayoutId id="2147483761" r:id="rId30"/>
    <p:sldLayoutId id="2147483762" r:id="rId31"/>
    <p:sldLayoutId id="2147483763" r:id="rId32"/>
    <p:sldLayoutId id="2147483764" r:id="rId33"/>
    <p:sldLayoutId id="2147483765" r:id="rId34"/>
    <p:sldLayoutId id="2147483766" r:id="rId35"/>
    <p:sldLayoutId id="2147483767" r:id="rId36"/>
    <p:sldLayoutId id="2147483768" r:id="rId37"/>
    <p:sldLayoutId id="2147483769" r:id="rId38"/>
    <p:sldLayoutId id="2147483758" r:id="rId39"/>
    <p:sldLayoutId id="2147483771" r:id="rId40"/>
    <p:sldLayoutId id="2147483772" r:id="rId41"/>
    <p:sldLayoutId id="2147483773" r:id="rId42"/>
    <p:sldLayoutId id="2147483774" r:id="rId43"/>
    <p:sldLayoutId id="2147483775" r:id="rId44"/>
    <p:sldLayoutId id="2147483717" r:id="rId45"/>
    <p:sldLayoutId id="2147483679" r:id="rId46"/>
    <p:sldLayoutId id="2147483680" r:id="rId47"/>
    <p:sldLayoutId id="2147483681" r:id="rId48"/>
    <p:sldLayoutId id="2147483776" r:id="rId49"/>
    <p:sldLayoutId id="2147483777" r:id="rId50"/>
    <p:sldLayoutId id="2147483770" r:id="rId51"/>
    <p:sldLayoutId id="2147483779" r:id="rId52"/>
    <p:sldLayoutId id="2147483780" r:id="rId53"/>
    <p:sldLayoutId id="2147483871" r:id="rId54"/>
    <p:sldLayoutId id="2147483781" r:id="rId55"/>
    <p:sldLayoutId id="2147483782" r:id="rId56"/>
    <p:sldLayoutId id="2147483783" r:id="rId57"/>
    <p:sldLayoutId id="2147483672" r:id="rId58"/>
    <p:sldLayoutId id="2147483778" r:id="rId59"/>
    <p:sldLayoutId id="2147483852" r:id="rId60"/>
    <p:sldLayoutId id="2147483853" r:id="rId61"/>
    <p:sldLayoutId id="2147483854" r:id="rId62"/>
    <p:sldLayoutId id="2147483855" r:id="rId63"/>
    <p:sldLayoutId id="2147483856" r:id="rId64"/>
    <p:sldLayoutId id="2147483857" r:id="rId65"/>
    <p:sldLayoutId id="2147483858" r:id="rId66"/>
    <p:sldLayoutId id="2147483859" r:id="rId67"/>
    <p:sldLayoutId id="2147483745" r:id="rId68"/>
    <p:sldLayoutId id="2147483860" r:id="rId69"/>
    <p:sldLayoutId id="2147483861" r:id="rId70"/>
    <p:sldLayoutId id="2147483862" r:id="rId71"/>
    <p:sldLayoutId id="2147483749" r:id="rId72"/>
    <p:sldLayoutId id="2147483863" r:id="rId73"/>
    <p:sldLayoutId id="2147483865" r:id="rId74"/>
    <p:sldLayoutId id="2147483785" r:id="rId75"/>
    <p:sldLayoutId id="2147483833" r:id="rId76"/>
    <p:sldLayoutId id="2147483786" r:id="rId77"/>
    <p:sldLayoutId id="2147483835" r:id="rId78"/>
    <p:sldLayoutId id="2147483836" r:id="rId79"/>
    <p:sldLayoutId id="2147483837" r:id="rId80"/>
    <p:sldLayoutId id="2147483838" r:id="rId81"/>
    <p:sldLayoutId id="2147483839" r:id="rId82"/>
    <p:sldLayoutId id="2147483840" r:id="rId83"/>
    <p:sldLayoutId id="2147483841" r:id="rId84"/>
    <p:sldLayoutId id="2147483842" r:id="rId85"/>
    <p:sldLayoutId id="2147483843" r:id="rId86"/>
    <p:sldLayoutId id="2147483844" r:id="rId87"/>
    <p:sldLayoutId id="2147483845" r:id="rId88"/>
    <p:sldLayoutId id="2147483846" r:id="rId89"/>
    <p:sldLayoutId id="2147483848" r:id="rId90"/>
    <p:sldLayoutId id="2147483849" r:id="rId91"/>
    <p:sldLayoutId id="2147483705" r:id="rId92"/>
    <p:sldLayoutId id="2147483694" r:id="rId93"/>
    <p:sldLayoutId id="2147483695" r:id="rId94"/>
    <p:sldLayoutId id="2147483702" r:id="rId95"/>
    <p:sldLayoutId id="2147483788" r:id="rId96"/>
    <p:sldLayoutId id="2147483729" r:id="rId97"/>
    <p:sldLayoutId id="2147483730" r:id="rId98"/>
    <p:sldLayoutId id="2147483731" r:id="rId99"/>
    <p:sldLayoutId id="2147483732" r:id="rId100"/>
    <p:sldLayoutId id="2147483734" r:id="rId101"/>
    <p:sldLayoutId id="2147483735" r:id="rId102"/>
    <p:sldLayoutId id="2147483784" r:id="rId103"/>
    <p:sldLayoutId id="2147483736" r:id="rId104"/>
    <p:sldLayoutId id="2147483738" r:id="rId105"/>
    <p:sldLayoutId id="2147483739" r:id="rId106"/>
    <p:sldLayoutId id="2147483740" r:id="rId107"/>
    <p:sldLayoutId id="2147483741" r:id="rId108"/>
    <p:sldLayoutId id="2147483742" r:id="rId109"/>
    <p:sldLayoutId id="2147483743" r:id="rId110"/>
    <p:sldLayoutId id="2147483744" r:id="rId111"/>
    <p:sldLayoutId id="2147483789" r:id="rId112"/>
    <p:sldLayoutId id="2147483787" r:id="rId113"/>
    <p:sldLayoutId id="2147483726" r:id="rId114"/>
    <p:sldLayoutId id="2147483727" r:id="rId115"/>
    <p:sldLayoutId id="2147483790" r:id="rId116"/>
    <p:sldLayoutId id="2147483791" r:id="rId117"/>
    <p:sldLayoutId id="2147483746" r:id="rId118"/>
    <p:sldLayoutId id="2147483747" r:id="rId119"/>
    <p:sldLayoutId id="2147483748" r:id="rId120"/>
    <p:sldLayoutId id="2147483793" r:id="rId121"/>
    <p:sldLayoutId id="2147483750" r:id="rId122"/>
    <p:sldLayoutId id="2147483752" r:id="rId123"/>
    <p:sldLayoutId id="2147483795" r:id="rId124"/>
    <p:sldLayoutId id="2147483796" r:id="rId125"/>
    <p:sldLayoutId id="2147483797" r:id="rId126"/>
    <p:sldLayoutId id="2147483660" r:id="rId127"/>
    <p:sldLayoutId id="2147483873" r:id="rId1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000" b="0" i="0" kern="1200">
          <a:solidFill>
            <a:schemeClr val="tx1"/>
          </a:solidFill>
          <a:latin typeface="+mj-lt"/>
          <a:ea typeface="+mj-ea"/>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Open Sans" pitchFamily="2" charset="0"/>
          <a:cs typeface="Open Sans"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Open Sans" pitchFamily="2" charset="0"/>
          <a:cs typeface="Open Sans"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Open Sans" pitchFamily="2" charset="0"/>
          <a:cs typeface="Open Sans"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Open Sans" pitchFamily="2" charset="0"/>
          <a:cs typeface="Open Sans"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Open Sans" pitchFamily="2" charset="0"/>
          <a:cs typeface="Open Sans"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66.png"/><Relationship Id="rId7" Type="http://schemas.openxmlformats.org/officeDocument/2006/relationships/image" Target="../media/image30.png"/><Relationship Id="rId2" Type="http://schemas.microsoft.com/office/2018/10/relationships/comments" Target="../comments/modernComment_334_62818D6C.xml"/><Relationship Id="rId1" Type="http://schemas.openxmlformats.org/officeDocument/2006/relationships/slideLayout" Target="../slideLayouts/slideLayout112.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microsoft.com/office/2018/10/relationships/comments" Target="../comments/modernComment_335_68885970.xml"/><Relationship Id="rId2" Type="http://schemas.openxmlformats.org/officeDocument/2006/relationships/notesSlide" Target="../notesSlides/notesSlide7.xml"/><Relationship Id="rId1" Type="http://schemas.openxmlformats.org/officeDocument/2006/relationships/slideLayout" Target="../slideLayouts/slideLayout45.xml"/><Relationship Id="rId6" Type="http://schemas.openxmlformats.org/officeDocument/2006/relationships/image" Target="../media/image72.jpeg"/><Relationship Id="rId5" Type="http://schemas.openxmlformats.org/officeDocument/2006/relationships/image" Target="../media/image71.png"/><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microsoft.com/office/2018/10/relationships/comments" Target="../comments/modernComment_329_170BC622.xml"/><Relationship Id="rId2" Type="http://schemas.openxmlformats.org/officeDocument/2006/relationships/notesSlide" Target="../notesSlides/notesSlide8.xml"/><Relationship Id="rId1" Type="http://schemas.openxmlformats.org/officeDocument/2006/relationships/slideLayout" Target="../slideLayouts/slideLayout137.xml"/><Relationship Id="rId5" Type="http://schemas.openxmlformats.org/officeDocument/2006/relationships/image" Target="../media/image73.jpe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37.xml"/><Relationship Id="rId4" Type="http://schemas.openxmlformats.org/officeDocument/2006/relationships/image" Target="../media/image74.jpeg"/></Relationships>
</file>

<file path=ppt/slides/_rels/slide14.xml.rels><?xml version="1.0" encoding="UTF-8" standalone="yes"?>
<Relationships xmlns="http://schemas.openxmlformats.org/package/2006/relationships"><Relationship Id="rId3" Type="http://schemas.microsoft.com/office/2018/10/relationships/comments" Target="../comments/modernComment_33A_C9F6806F.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63.jpeg"/></Relationships>
</file>

<file path=ppt/slides/_rels/slide15.xml.rels><?xml version="1.0" encoding="UTF-8" standalone="yes"?>
<Relationships xmlns="http://schemas.openxmlformats.org/package/2006/relationships"><Relationship Id="rId3" Type="http://schemas.microsoft.com/office/2018/10/relationships/comments" Target="../comments/modernComment_32F_55F2C902.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microsoft.com/office/2018/10/relationships/comments" Target="../comments/modernComment_331_B630ED2E.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81.jpeg"/></Relationships>
</file>

<file path=ppt/slides/_rels/slide18.xml.rels><?xml version="1.0" encoding="UTF-8" standalone="yes"?>
<Relationships xmlns="http://schemas.openxmlformats.org/package/2006/relationships"><Relationship Id="rId3" Type="http://schemas.microsoft.com/office/2018/10/relationships/comments" Target="../comments/modernComment_314_B2CE8DE6.xml"/><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82.jpe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83.jpeg"/></Relationships>
</file>

<file path=ppt/slides/_rels/slide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84.jpeg"/></Relationships>
</file>

<file path=ppt/slides/_rels/slide21.xml.rels><?xml version="1.0" encoding="UTF-8" standalone="yes"?>
<Relationships xmlns="http://schemas.openxmlformats.org/package/2006/relationships"><Relationship Id="rId3" Type="http://schemas.microsoft.com/office/2018/10/relationships/comments" Target="../comments/modernComment_33B_2EF760E9.xml"/><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55.jpeg"/></Relationships>
</file>

<file path=ppt/slides/_rels/slide2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sv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91.png"/><Relationship Id="rId5" Type="http://schemas.openxmlformats.org/officeDocument/2006/relationships/image" Target="../media/image90.svg"/><Relationship Id="rId10" Type="http://schemas.openxmlformats.org/officeDocument/2006/relationships/image" Target="../media/image35.png"/><Relationship Id="rId4" Type="http://schemas.openxmlformats.org/officeDocument/2006/relationships/image" Target="../media/image89.png"/><Relationship Id="rId9" Type="http://schemas.openxmlformats.org/officeDocument/2006/relationships/image" Target="../media/image94.svg"/></Relationships>
</file>

<file path=ppt/slides/_rels/slide24.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96.jpe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97.jpe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98.jpeg"/></Relationships>
</file>

<file path=ppt/slides/_rels/slide28.xml.rels><?xml version="1.0" encoding="UTF-8" standalone="yes"?>
<Relationships xmlns="http://schemas.openxmlformats.org/package/2006/relationships"><Relationship Id="rId3" Type="http://schemas.openxmlformats.org/officeDocument/2006/relationships/image" Target="../media/image99.jpeg"/><Relationship Id="rId7" Type="http://schemas.openxmlformats.org/officeDocument/2006/relationships/image" Target="../media/image103.sv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102.png"/><Relationship Id="rId5" Type="http://schemas.openxmlformats.org/officeDocument/2006/relationships/image" Target="../media/image101.svg"/><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3" Type="http://schemas.microsoft.com/office/2018/10/relationships/comments" Target="../comments/modernComment_2C4_4EFEF1D4.xml"/><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87.jpeg"/><Relationship Id="rId5" Type="http://schemas.openxmlformats.org/officeDocument/2006/relationships/image" Target="../media/image35.png"/><Relationship Id="rId4" Type="http://schemas.openxmlformats.org/officeDocument/2006/relationships/image" Target="../media/image104.jpeg"/></Relationships>
</file>

<file path=ppt/slides/_rels/slide3.xml.rels><?xml version="1.0" encoding="UTF-8" standalone="yes"?>
<Relationships xmlns="http://schemas.openxmlformats.org/package/2006/relationships"><Relationship Id="rId3" Type="http://schemas.openxmlformats.org/officeDocument/2006/relationships/image" Target="../media/image36.jpeg"/><Relationship Id="rId2" Type="http://schemas.microsoft.com/office/2018/10/relationships/comments" Target="../comments/modernComment_316_27AED165.xml"/><Relationship Id="rId1" Type="http://schemas.openxmlformats.org/officeDocument/2006/relationships/slideLayout" Target="../slideLayouts/slideLayout4.xml"/><Relationship Id="rId5" Type="http://schemas.openxmlformats.org/officeDocument/2006/relationships/image" Target="../media/image35.png"/><Relationship Id="rId4" Type="http://schemas.openxmlformats.org/officeDocument/2006/relationships/chart" Target="../charts/chart1.xml"/></Relationships>
</file>

<file path=ppt/slides/_rels/slide3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6.png"/><Relationship Id="rId5" Type="http://schemas.microsoft.com/office/2018/10/relationships/comments" Target="../comments/modernComment_2C7_EA05BB82.xml"/><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8" Type="http://schemas.openxmlformats.org/officeDocument/2006/relationships/image" Target="../media/image111.png"/><Relationship Id="rId3" Type="http://schemas.microsoft.com/office/2018/10/relationships/comments" Target="../comments/modernComment_112_96793EE4.xml"/><Relationship Id="rId7" Type="http://schemas.openxmlformats.org/officeDocument/2006/relationships/image" Target="../media/image110.sv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109.png"/><Relationship Id="rId5" Type="http://schemas.openxmlformats.org/officeDocument/2006/relationships/image" Target="../media/image108.svg"/><Relationship Id="rId10" Type="http://schemas.openxmlformats.org/officeDocument/2006/relationships/image" Target="../media/image35.png"/><Relationship Id="rId4" Type="http://schemas.openxmlformats.org/officeDocument/2006/relationships/image" Target="../media/image107.png"/><Relationship Id="rId9" Type="http://schemas.openxmlformats.org/officeDocument/2006/relationships/image" Target="../media/image112.sv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13.png"/><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microsoft.com/office/2018/10/relationships/comments" Target="../comments/modernComment_293_9EA8D1A1.xml"/><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114.jpeg"/></Relationships>
</file>

<file path=ppt/slides/_rels/slide35.xml.rels><?xml version="1.0" encoding="UTF-8" standalone="yes"?>
<Relationships xmlns="http://schemas.openxmlformats.org/package/2006/relationships"><Relationship Id="rId3" Type="http://schemas.microsoft.com/office/2018/10/relationships/comments" Target="../comments/modernComment_294_81F5C653.xml"/><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115.jpeg"/></Relationships>
</file>

<file path=ppt/slides/_rels/slide36.xml.rels><?xml version="1.0" encoding="UTF-8" standalone="yes"?>
<Relationships xmlns="http://schemas.openxmlformats.org/package/2006/relationships"><Relationship Id="rId3" Type="http://schemas.microsoft.com/office/2018/10/relationships/comments" Target="../comments/modernComment_322_75F3E2F4.xml"/><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117.jpeg"/><Relationship Id="rId4" Type="http://schemas.openxmlformats.org/officeDocument/2006/relationships/image" Target="../media/image116.jpeg"/></Relationships>
</file>

<file path=ppt/slides/_rels/slide37.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microsoft.com/office/2018/10/relationships/comments" Target="../comments/modernComment_300_B71D6359.xml"/><Relationship Id="rId7" Type="http://schemas.openxmlformats.org/officeDocument/2006/relationships/image" Target="../media/image122.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39.xml.rels><?xml version="1.0" encoding="UTF-8" standalone="yes"?>
<Relationships xmlns="http://schemas.openxmlformats.org/package/2006/relationships"><Relationship Id="rId3" Type="http://schemas.microsoft.com/office/2018/10/relationships/comments" Target="../comments/modernComment_301_1BAB5F3.xml"/><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123.png"/><Relationship Id="rId4" Type="http://schemas.openxmlformats.org/officeDocument/2006/relationships/image" Target="../media/image119.png"/></Relationships>
</file>

<file path=ppt/slides/_rels/slide4.xml.rels><?xml version="1.0" encoding="UTF-8" standalone="yes"?>
<Relationships xmlns="http://schemas.openxmlformats.org/package/2006/relationships"><Relationship Id="rId3" Type="http://schemas.microsoft.com/office/2018/10/relationships/comments" Target="../comments/modernComment_319_3CCA6652.xm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4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microsoft.com/office/2018/10/relationships/comments" Target="../comments/modernComment_31D_FE8CE52B.xm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38.jpeg"/><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microsoft.com/office/2018/10/relationships/comments" Target="../comments/modernComment_32A_59E0258F.xml"/><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image" Target="../media/image54.svg"/><Relationship Id="rId3" Type="http://schemas.openxmlformats.org/officeDocument/2006/relationships/image" Target="../media/image35.png"/><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microsoft.com/office/2018/10/relationships/comments" Target="../comments/modernComment_325_B75540C5.xml"/><Relationship Id="rId16" Type="http://schemas.openxmlformats.org/officeDocument/2006/relationships/image" Target="../media/image52.svg"/><Relationship Id="rId1" Type="http://schemas.openxmlformats.org/officeDocument/2006/relationships/slideLayout" Target="../slideLayouts/slideLayout6.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svg"/></Relationships>
</file>

<file path=ppt/slides/_rels/slide8.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image" Target="../media/image63.jpeg"/><Relationship Id="rId3" Type="http://schemas.microsoft.com/office/2018/10/relationships/comments" Target="../comments/modernComment_333_D4C697CF.xml"/><Relationship Id="rId7" Type="http://schemas.openxmlformats.org/officeDocument/2006/relationships/image" Target="../media/image58.png"/><Relationship Id="rId12" Type="http://schemas.openxmlformats.org/officeDocument/2006/relationships/image" Target="../media/image62.jpe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57.svg"/><Relationship Id="rId11" Type="http://schemas.openxmlformats.org/officeDocument/2006/relationships/image" Target="../media/image35.png"/><Relationship Id="rId5" Type="http://schemas.openxmlformats.org/officeDocument/2006/relationships/image" Target="../media/image56.png"/><Relationship Id="rId10" Type="http://schemas.openxmlformats.org/officeDocument/2006/relationships/image" Target="../media/image61.svg"/><Relationship Id="rId4" Type="http://schemas.openxmlformats.org/officeDocument/2006/relationships/image" Target="../media/image55.jpeg"/><Relationship Id="rId9"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65.svg"/><Relationship Id="rId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erson wearing a graduation cap and gown  Description automatically generated">
            <a:extLst>
              <a:ext uri="{FF2B5EF4-FFF2-40B4-BE49-F238E27FC236}">
                <a16:creationId xmlns:a16="http://schemas.microsoft.com/office/drawing/2014/main" id="{F2DAB3DF-602F-4AB3-4A43-3A52A1D894F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0" y="0"/>
            <a:ext cx="12192000" cy="6858000"/>
          </a:xfrm>
          <a:prstGeom prst="rect">
            <a:avLst/>
          </a:prstGeom>
        </p:spPr>
      </p:pic>
      <p:sp>
        <p:nvSpPr>
          <p:cNvPr id="8" name="Rectangle 7">
            <a:extLst>
              <a:ext uri="{FF2B5EF4-FFF2-40B4-BE49-F238E27FC236}">
                <a16:creationId xmlns:a16="http://schemas.microsoft.com/office/drawing/2014/main" id="{ADE34DFC-0472-B308-AAE6-1F6E93DDAE79}"/>
              </a:ext>
            </a:extLst>
          </p:cNvPr>
          <p:cNvSpPr/>
          <p:nvPr/>
        </p:nvSpPr>
        <p:spPr>
          <a:xfrm>
            <a:off x="1" y="1"/>
            <a:ext cx="12192000" cy="6857999"/>
          </a:xfrm>
          <a:prstGeom prst="rect">
            <a:avLst/>
          </a:prstGeom>
          <a:gradFill flip="none" rotWithShape="1">
            <a:gsLst>
              <a:gs pos="17000">
                <a:srgbClr val="FFBF05">
                  <a:alpha val="89851"/>
                </a:srgbClr>
              </a:gs>
              <a:gs pos="100000">
                <a:schemeClr val="accent1">
                  <a:lumMod val="0"/>
                  <a:lumOff val="100000"/>
                  <a:alpha val="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4" name="Picture 3" descr="Text  Description automatically generated">
            <a:extLst>
              <a:ext uri="{FF2B5EF4-FFF2-40B4-BE49-F238E27FC236}">
                <a16:creationId xmlns:a16="http://schemas.microsoft.com/office/drawing/2014/main" id="{97A0E9CE-17FB-B683-D8C6-41FFC3160A5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5271" y="546205"/>
            <a:ext cx="2205174" cy="1380338"/>
          </a:xfrm>
          <a:prstGeom prst="rect">
            <a:avLst/>
          </a:prstGeom>
        </p:spPr>
      </p:pic>
    </p:spTree>
    <p:extLst>
      <p:ext uri="{BB962C8B-B14F-4D97-AF65-F5344CB8AC3E}">
        <p14:creationId xmlns:p14="http://schemas.microsoft.com/office/powerpoint/2010/main" val="6501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23">
            <a:extLst>
              <a:ext uri="{FF2B5EF4-FFF2-40B4-BE49-F238E27FC236}">
                <a16:creationId xmlns:a16="http://schemas.microsoft.com/office/drawing/2014/main" id="{1F256DD5-6568-B3D0-1D02-411E0802F654}"/>
              </a:ext>
            </a:extLst>
          </p:cNvPr>
          <p:cNvPicPr>
            <a:picLocks noGrp="1" noChangeAspect="1"/>
          </p:cNvPicPr>
          <p:nvPr>
            <p:ph sz="half" idx="1"/>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b="17719"/>
          <a:stretch/>
        </p:blipFill>
        <p:spPr>
          <a:xfrm>
            <a:off x="791994" y="2061109"/>
            <a:ext cx="2922734" cy="2404872"/>
          </a:xfrm>
        </p:spPr>
      </p:pic>
      <p:sp>
        <p:nvSpPr>
          <p:cNvPr id="18" name="Title 1">
            <a:extLst>
              <a:ext uri="{FF2B5EF4-FFF2-40B4-BE49-F238E27FC236}">
                <a16:creationId xmlns:a16="http://schemas.microsoft.com/office/drawing/2014/main" id="{E5360234-A6FA-4FE7-3C0B-C21B407E304B}"/>
              </a:ext>
            </a:extLst>
          </p:cNvPr>
          <p:cNvSpPr>
            <a:spLocks noGrp="1"/>
          </p:cNvSpPr>
          <p:nvPr>
            <p:ph type="title"/>
          </p:nvPr>
        </p:nvSpPr>
        <p:spPr>
          <a:xfrm>
            <a:off x="623926" y="428051"/>
            <a:ext cx="9597414" cy="730171"/>
          </a:xfrm>
        </p:spPr>
        <p:txBody>
          <a:bodyPr/>
          <a:lstStyle/>
          <a:p>
            <a:pPr>
              <a:defRPr sz="4400">
                <a:latin typeface="Calibri Light"/>
                <a:cs typeface="Open Sans"/>
              </a:defRPr>
            </a:pPr>
            <a:r>
              <a:rPr lang="en-US" sz="3800"/>
              <a:t>Comment les </a:t>
            </a:r>
            <a:r>
              <a:rPr lang="en-US" sz="3800" err="1"/>
              <a:t>étudiants</a:t>
            </a:r>
            <a:r>
              <a:rPr lang="en-US" sz="3800"/>
              <a:t> </a:t>
            </a:r>
            <a:r>
              <a:rPr lang="en-US" sz="3800" err="1"/>
              <a:t>obtiennent</a:t>
            </a:r>
            <a:r>
              <a:rPr lang="en-US" sz="3800"/>
              <a:t> un </a:t>
            </a:r>
            <a:r>
              <a:rPr lang="en-US" sz="3800" err="1"/>
              <a:t>emploi</a:t>
            </a:r>
            <a:endParaRPr lang="en-US" sz="3800"/>
          </a:p>
        </p:txBody>
      </p:sp>
      <p:sp>
        <p:nvSpPr>
          <p:cNvPr id="6" name="Slide Number Placeholder 5">
            <a:extLst>
              <a:ext uri="{FF2B5EF4-FFF2-40B4-BE49-F238E27FC236}">
                <a16:creationId xmlns:a16="http://schemas.microsoft.com/office/drawing/2014/main" id="{20646624-23AA-4112-2498-F78A4350593A}"/>
              </a:ext>
            </a:extLst>
          </p:cNvPr>
          <p:cNvSpPr>
            <a:spLocks noGrp="1"/>
          </p:cNvSpPr>
          <p:nvPr>
            <p:ph type="sldNum" sz="quarter" idx="12"/>
          </p:nvPr>
        </p:nvSpPr>
        <p:spPr/>
        <p:txBody>
          <a:bodyPr/>
          <a:lstStyle/>
          <a:p>
            <a:fld id="{6DD660AA-F4B9-9E4A-970E-DF14D91E0EC0}" type="slidenum">
              <a:rPr lang="en-US" dirty="0" smtClean="0"/>
              <a:t>9</a:t>
            </a:fld>
            <a:endParaRPr lang="en-US"/>
          </a:p>
        </p:txBody>
      </p:sp>
      <p:pic>
        <p:nvPicPr>
          <p:cNvPr id="13" name="Content Placeholder 15">
            <a:extLst>
              <a:ext uri="{FF2B5EF4-FFF2-40B4-BE49-F238E27FC236}">
                <a16:creationId xmlns:a16="http://schemas.microsoft.com/office/drawing/2014/main" id="{01A3FC43-DFC9-F444-9663-844F9993DB6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81804" y="2404826"/>
            <a:ext cx="2048348" cy="2048348"/>
          </a:xfrm>
          <a:prstGeom prst="rect">
            <a:avLst/>
          </a:prstGeom>
        </p:spPr>
      </p:pic>
      <p:pic>
        <p:nvPicPr>
          <p:cNvPr id="14" name="Content Placeholder 19">
            <a:extLst>
              <a:ext uri="{FF2B5EF4-FFF2-40B4-BE49-F238E27FC236}">
                <a16:creationId xmlns:a16="http://schemas.microsoft.com/office/drawing/2014/main" id="{6074E156-2D2C-C853-A71B-0706B2FAC757}"/>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b="17719"/>
          <a:stretch/>
        </p:blipFill>
        <p:spPr>
          <a:xfrm>
            <a:off x="4604771" y="2139078"/>
            <a:ext cx="2922735" cy="2404872"/>
          </a:xfrm>
          <a:prstGeom prst="rect">
            <a:avLst/>
          </a:prstGeom>
        </p:spPr>
      </p:pic>
      <p:sp>
        <p:nvSpPr>
          <p:cNvPr id="15" name="TextBox 14">
            <a:extLst>
              <a:ext uri="{FF2B5EF4-FFF2-40B4-BE49-F238E27FC236}">
                <a16:creationId xmlns:a16="http://schemas.microsoft.com/office/drawing/2014/main" id="{BE770EFB-6961-C091-C1B2-C551AA033ED2}"/>
              </a:ext>
            </a:extLst>
          </p:cNvPr>
          <p:cNvSpPr txBox="1"/>
          <p:nvPr/>
        </p:nvSpPr>
        <p:spPr>
          <a:xfrm>
            <a:off x="299119" y="4824389"/>
            <a:ext cx="3908485" cy="43088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b="1" kern="1200">
                <a:ln>
                  <a:noFill/>
                </a:ln>
                <a:solidFill>
                  <a:srgbClr val="3A929D"/>
                </a:solidFill>
                <a:effectLst/>
                <a:uLnTx/>
                <a:uFillTx/>
                <a:latin typeface="Open Sans" panose="020B0606030504020204" pitchFamily="34" charset="0"/>
                <a:ea typeface="Open Sans" panose="020B0606030504020204" pitchFamily="34" charset="0"/>
                <a:cs typeface="Open Sans" panose="020B0606030504020204" pitchFamily="34" charset="0"/>
              </a:defRPr>
            </a:pPr>
            <a:r>
              <a:rPr sz="2200">
                <a:latin typeface="Open Sans"/>
                <a:ea typeface="Open Sans"/>
                <a:cs typeface="Open Sans"/>
              </a:rPr>
              <a:t>EMPLOI LOCAL</a:t>
            </a:r>
            <a:endParaRPr lang="en-US" sz="2200">
              <a:latin typeface="Open Sans"/>
              <a:ea typeface="Open Sans"/>
              <a:cs typeface="Open Sans"/>
            </a:endParaRPr>
          </a:p>
        </p:txBody>
      </p:sp>
      <p:sp>
        <p:nvSpPr>
          <p:cNvPr id="16" name="TextBox 15">
            <a:extLst>
              <a:ext uri="{FF2B5EF4-FFF2-40B4-BE49-F238E27FC236}">
                <a16:creationId xmlns:a16="http://schemas.microsoft.com/office/drawing/2014/main" id="{EFA081FD-9098-3A38-3995-211EBEBA672C}"/>
              </a:ext>
            </a:extLst>
          </p:cNvPr>
          <p:cNvSpPr txBox="1"/>
          <p:nvPr/>
        </p:nvSpPr>
        <p:spPr>
          <a:xfrm>
            <a:off x="8053938" y="4830792"/>
            <a:ext cx="3908485" cy="430887"/>
          </a:xfrm>
          <a:prstGeom prst="rect">
            <a:avLst/>
          </a:prstGeom>
          <a:noFill/>
        </p:spPr>
        <p:txBody>
          <a:bodyPr wrap="square" lIns="91440" tIns="45720" rIns="91440" bIns="45720" anchor="t">
            <a:spAutoFit/>
          </a:bodyPr>
          <a:lstStyle/>
          <a:p>
            <a:pPr algn="ctr">
              <a:defRPr sz="2400" b="1" kern="1200">
                <a:ln>
                  <a:noFill/>
                </a:ln>
                <a:solidFill>
                  <a:srgbClr val="3A929D"/>
                </a:solidFill>
                <a:effectLst/>
                <a:uLnTx/>
                <a:uFillTx/>
                <a:latin typeface="Open Sans" panose="020B0606030504020204" pitchFamily="34" charset="0"/>
                <a:ea typeface="Open Sans" panose="020B0606030504020204" pitchFamily="34" charset="0"/>
                <a:cs typeface="Open Sans" panose="020B0606030504020204" pitchFamily="34" charset="0"/>
              </a:defRPr>
            </a:pPr>
            <a:r>
              <a:rPr lang="en-US" sz="2200">
                <a:solidFill>
                  <a:schemeClr val="accent2"/>
                </a:solidFill>
                <a:latin typeface="Open Sans"/>
                <a:ea typeface="Open Sans"/>
                <a:cs typeface="Segoe UI"/>
              </a:rPr>
              <a:t>ENTREPRENEURIAT</a:t>
            </a:r>
            <a:endParaRPr lang="en-US" sz="2200">
              <a:solidFill>
                <a:schemeClr val="accent2"/>
              </a:solidFill>
              <a:latin typeface="Open Sans"/>
              <a:cs typeface="Segoe UI"/>
            </a:endParaRPr>
          </a:p>
        </p:txBody>
      </p:sp>
      <p:sp>
        <p:nvSpPr>
          <p:cNvPr id="17" name="TextBox 16">
            <a:extLst>
              <a:ext uri="{FF2B5EF4-FFF2-40B4-BE49-F238E27FC236}">
                <a16:creationId xmlns:a16="http://schemas.microsoft.com/office/drawing/2014/main" id="{971D078D-E770-9DDC-AAA4-4C5521326957}"/>
              </a:ext>
            </a:extLst>
          </p:cNvPr>
          <p:cNvSpPr txBox="1"/>
          <p:nvPr/>
        </p:nvSpPr>
        <p:spPr>
          <a:xfrm>
            <a:off x="4111895" y="4831438"/>
            <a:ext cx="3908485" cy="43088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b="1" kern="1200">
                <a:ln>
                  <a:noFill/>
                </a:ln>
                <a:solidFill>
                  <a:srgbClr val="3A929D"/>
                </a:solidFill>
                <a:effectLst/>
                <a:uLnTx/>
                <a:uFillTx/>
                <a:latin typeface="Open Sans" panose="020B0606030504020204" pitchFamily="34" charset="0"/>
                <a:ea typeface="Open Sans" panose="020B0606030504020204" pitchFamily="34" charset="0"/>
                <a:cs typeface="Open Sans" panose="020B0606030504020204" pitchFamily="34" charset="0"/>
              </a:defRPr>
            </a:pPr>
            <a:r>
              <a:rPr sz="2200">
                <a:latin typeface="Open Sans"/>
                <a:ea typeface="Open Sans"/>
                <a:cs typeface="Open Sans"/>
              </a:rPr>
              <a:t>EMPLOIS À DISTANCE</a:t>
            </a:r>
            <a:endParaRPr lang="en-US" sz="2200">
              <a:latin typeface="Open Sans"/>
              <a:ea typeface="Open Sans"/>
              <a:cs typeface="Open Sans"/>
            </a:endParaRPr>
          </a:p>
        </p:txBody>
      </p:sp>
      <p:sp>
        <p:nvSpPr>
          <p:cNvPr id="3" name="Rectangle 2">
            <a:extLst>
              <a:ext uri="{FF2B5EF4-FFF2-40B4-BE49-F238E27FC236}">
                <a16:creationId xmlns:a16="http://schemas.microsoft.com/office/drawing/2014/main" id="{09FC9847-0286-029B-089D-EDBA69DD3D1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5" name="Picture 4" descr="Text  Description automatically generated">
            <a:extLst>
              <a:ext uri="{FF2B5EF4-FFF2-40B4-BE49-F238E27FC236}">
                <a16:creationId xmlns:a16="http://schemas.microsoft.com/office/drawing/2014/main" id="{040F7020-F9E4-8D7C-EB3F-832B4D4AD35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Tree>
    <p:extLst>
      <p:ext uri="{BB962C8B-B14F-4D97-AF65-F5344CB8AC3E}">
        <p14:creationId xmlns:p14="http://schemas.microsoft.com/office/powerpoint/2010/main" val="165265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921F31C-1FB1-9CF1-8BF2-426893DE041A}"/>
              </a:ext>
            </a:extLst>
          </p:cNvPr>
          <p:cNvSpPr/>
          <p:nvPr/>
        </p:nvSpPr>
        <p:spPr>
          <a:xfrm>
            <a:off x="4724399" y="3383214"/>
            <a:ext cx="6436291" cy="1603331"/>
          </a:xfrm>
          <a:prstGeom prst="rect">
            <a:avLst/>
          </a:prstGeom>
          <a:solidFill>
            <a:schemeClr val="bg1"/>
          </a:solidFill>
          <a:ln>
            <a:noFill/>
          </a:ln>
          <a:effectLst>
            <a:outerShdw blurRad="307163" dist="175218" dir="5400000" algn="t" rotWithShape="0">
              <a:prstClr val="black">
                <a:alpha val="10309"/>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21" name="Rectangle 20">
            <a:extLst>
              <a:ext uri="{FF2B5EF4-FFF2-40B4-BE49-F238E27FC236}">
                <a16:creationId xmlns:a16="http://schemas.microsoft.com/office/drawing/2014/main" id="{CC31E8D8-66FB-1FE8-789C-028F39D091BC}"/>
              </a:ext>
            </a:extLst>
          </p:cNvPr>
          <p:cNvSpPr/>
          <p:nvPr/>
        </p:nvSpPr>
        <p:spPr>
          <a:xfrm>
            <a:off x="4724399" y="1640910"/>
            <a:ext cx="6436291" cy="1603331"/>
          </a:xfrm>
          <a:prstGeom prst="rect">
            <a:avLst/>
          </a:prstGeom>
          <a:solidFill>
            <a:schemeClr val="bg1"/>
          </a:solidFill>
          <a:ln>
            <a:noFill/>
          </a:ln>
          <a:effectLst>
            <a:outerShdw blurRad="307163" dist="175218" dir="5400000" algn="t" rotWithShape="0">
              <a:prstClr val="black">
                <a:alpha val="10309"/>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3" name="Title 2">
            <a:extLst>
              <a:ext uri="{FF2B5EF4-FFF2-40B4-BE49-F238E27FC236}">
                <a16:creationId xmlns:a16="http://schemas.microsoft.com/office/drawing/2014/main" id="{A89DF289-C5D8-A740-07DB-8FADEEE5E2D7}"/>
              </a:ext>
            </a:extLst>
          </p:cNvPr>
          <p:cNvSpPr>
            <a:spLocks noGrp="1"/>
          </p:cNvSpPr>
          <p:nvPr>
            <p:ph type="title"/>
          </p:nvPr>
        </p:nvSpPr>
        <p:spPr/>
        <p:txBody>
          <a:bodyPr/>
          <a:lstStyle/>
          <a:p>
            <a:r>
              <a:t>Emplois à distance</a:t>
            </a:r>
          </a:p>
        </p:txBody>
      </p:sp>
      <p:sp>
        <p:nvSpPr>
          <p:cNvPr id="9" name="TextBox 8">
            <a:extLst>
              <a:ext uri="{FF2B5EF4-FFF2-40B4-BE49-F238E27FC236}">
                <a16:creationId xmlns:a16="http://schemas.microsoft.com/office/drawing/2014/main" id="{4AD386F1-F22E-CF4B-4EF8-839D5722921A}"/>
              </a:ext>
            </a:extLst>
          </p:cNvPr>
          <p:cNvSpPr txBox="1"/>
          <p:nvPr/>
        </p:nvSpPr>
        <p:spPr>
          <a:xfrm>
            <a:off x="4724399" y="5361841"/>
            <a:ext cx="6991580" cy="1015663"/>
          </a:xfrm>
          <a:prstGeom prst="rect">
            <a:avLst/>
          </a:prstGeom>
          <a:noFill/>
        </p:spPr>
        <p:txBody>
          <a:bodyPr wrap="square" lIns="91440" tIns="45720" rIns="91440" bIns="45720" anchor="t">
            <a:spAutoFit/>
          </a:bodyPr>
          <a:lstStyle/>
          <a:p>
            <a:pPr marL="457200" indent="-457200" algn="l">
              <a:buFont typeface="Arial" panose="020B0604020202020204" pitchFamily="34" charset="0"/>
              <a:buChar char="•"/>
              <a:defRPr sz="2400">
                <a:solidFill>
                  <a:schemeClr val="bg2">
                    <a:lumMod val="25000"/>
                  </a:schemeClr>
                </a:solidFill>
              </a:defRPr>
            </a:pPr>
            <a:r>
              <a:rPr lang="en-US" sz="2000" err="1"/>
              <a:t>Opportunités</a:t>
            </a:r>
            <a:r>
              <a:rPr lang="en-US" sz="2000"/>
              <a:t> </a:t>
            </a:r>
            <a:r>
              <a:rPr lang="en-US" sz="2000" err="1"/>
              <a:t>croissantes</a:t>
            </a:r>
            <a:endParaRPr lang="en-US" sz="2000" err="1">
              <a:solidFill>
                <a:schemeClr val="bg2">
                  <a:lumMod val="25000"/>
                </a:schemeClr>
              </a:solidFill>
              <a:ea typeface="Calibri"/>
              <a:cs typeface="Calibri"/>
            </a:endParaRPr>
          </a:p>
          <a:p>
            <a:pPr marL="457200" indent="-457200" algn="l">
              <a:buFont typeface="Arial" panose="020B0604020202020204" pitchFamily="34" charset="0"/>
              <a:buChar char="•"/>
              <a:defRPr sz="2400">
                <a:solidFill>
                  <a:schemeClr val="bg2">
                    <a:lumMod val="25000"/>
                  </a:schemeClr>
                </a:solidFill>
              </a:defRPr>
            </a:pPr>
            <a:r>
              <a:rPr lang="en-US" sz="2000" err="1"/>
              <a:t>Permettent</a:t>
            </a:r>
            <a:r>
              <a:rPr lang="en-US" sz="2000"/>
              <a:t> aux </a:t>
            </a:r>
            <a:r>
              <a:rPr lang="en-US" sz="2000" err="1"/>
              <a:t>étudiants</a:t>
            </a:r>
            <a:r>
              <a:rPr lang="en-US" sz="2000"/>
              <a:t> de </a:t>
            </a:r>
            <a:r>
              <a:rPr lang="en-US" sz="2000" err="1"/>
              <a:t>rester</a:t>
            </a:r>
            <a:r>
              <a:rPr lang="en-US" sz="2000"/>
              <a:t> dans </a:t>
            </a:r>
            <a:r>
              <a:rPr lang="en-US" sz="2000" err="1"/>
              <a:t>leur</a:t>
            </a:r>
            <a:r>
              <a:rPr lang="en-US" sz="2000"/>
              <a:t> pays </a:t>
            </a:r>
            <a:r>
              <a:rPr lang="en-US" sz="2000" err="1"/>
              <a:t>d’origine</a:t>
            </a:r>
            <a:endParaRPr lang="en-US" sz="2000" err="1">
              <a:solidFill>
                <a:schemeClr val="bg2">
                  <a:lumMod val="25000"/>
                </a:schemeClr>
              </a:solidFill>
              <a:ea typeface="Calibri"/>
              <a:cs typeface="Calibri"/>
            </a:endParaRPr>
          </a:p>
        </p:txBody>
      </p:sp>
      <p:sp>
        <p:nvSpPr>
          <p:cNvPr id="10" name="TextBox 9">
            <a:extLst>
              <a:ext uri="{FF2B5EF4-FFF2-40B4-BE49-F238E27FC236}">
                <a16:creationId xmlns:a16="http://schemas.microsoft.com/office/drawing/2014/main" id="{8341FD57-6A23-9EAE-4BDD-CAC349729806}"/>
              </a:ext>
            </a:extLst>
          </p:cNvPr>
          <p:cNvSpPr txBox="1"/>
          <p:nvPr/>
        </p:nvSpPr>
        <p:spPr>
          <a:xfrm>
            <a:off x="6326046" y="1585714"/>
            <a:ext cx="1800493" cy="707886"/>
          </a:xfrm>
          <a:prstGeom prst="rect">
            <a:avLst/>
          </a:prstGeom>
          <a:noFill/>
        </p:spPr>
        <p:txBody>
          <a:bodyPr wrap="none">
            <a:spAutoFit/>
          </a:bodyPr>
          <a:lstStyle/>
          <a:p>
            <a:pPr>
              <a:defRPr sz="4000" b="1">
                <a:solidFill>
                  <a:schemeClr val="accent2"/>
                </a:solidFill>
                <a:latin typeface="Open Sans" panose="020B0606030504020204" pitchFamily="34" charset="0"/>
                <a:ea typeface="Open Sans" panose="020B0606030504020204" pitchFamily="34" charset="0"/>
                <a:cs typeface="Open Sans" panose="020B0606030504020204" pitchFamily="34" charset="0"/>
              </a:defRPr>
            </a:pPr>
            <a:r>
              <a:t>1,300+</a:t>
            </a:r>
          </a:p>
        </p:txBody>
      </p:sp>
      <p:sp>
        <p:nvSpPr>
          <p:cNvPr id="12" name="TextBox 11">
            <a:extLst>
              <a:ext uri="{FF2B5EF4-FFF2-40B4-BE49-F238E27FC236}">
                <a16:creationId xmlns:a16="http://schemas.microsoft.com/office/drawing/2014/main" id="{6C59D464-D814-8A2A-D041-1B74971D1040}"/>
              </a:ext>
            </a:extLst>
          </p:cNvPr>
          <p:cNvSpPr txBox="1"/>
          <p:nvPr/>
        </p:nvSpPr>
        <p:spPr>
          <a:xfrm>
            <a:off x="6424184" y="2255927"/>
            <a:ext cx="4853800" cy="830997"/>
          </a:xfrm>
          <a:prstGeom prst="rect">
            <a:avLst/>
          </a:prstGeom>
          <a:noFill/>
        </p:spPr>
        <p:txBody>
          <a:bodyPr wrap="square" lIns="91440" tIns="45720" rIns="91440" bIns="45720" anchor="t">
            <a:spAutoFit/>
          </a:bodyPr>
          <a:lstStyle/>
          <a:p>
            <a:pPr>
              <a:defRPr sz="2400">
                <a:solidFill>
                  <a:schemeClr val="bg2">
                    <a:lumMod val="25000"/>
                  </a:schemeClr>
                </a:solidFill>
              </a:defRPr>
            </a:pPr>
            <a:r>
              <a:t>Les étudiants ont obtenu des emplois à distance en 2022</a:t>
            </a:r>
          </a:p>
        </p:txBody>
      </p:sp>
      <p:pic>
        <p:nvPicPr>
          <p:cNvPr id="15" name="Picture 14" descr="Icon  Description automatically generated">
            <a:extLst>
              <a:ext uri="{FF2B5EF4-FFF2-40B4-BE49-F238E27FC236}">
                <a16:creationId xmlns:a16="http://schemas.microsoft.com/office/drawing/2014/main" id="{8A83AB06-9D28-F46A-961D-EF3C41462677}"/>
              </a:ext>
            </a:extLst>
          </p:cNvPr>
          <p:cNvPicPr>
            <a:picLocks noChangeAspect="1"/>
          </p:cNvPicPr>
          <p:nvPr/>
        </p:nvPicPr>
        <p:blipFill>
          <a:blip r:embed="rId4"/>
          <a:stretch>
            <a:fillRect/>
          </a:stretch>
        </p:blipFill>
        <p:spPr>
          <a:xfrm>
            <a:off x="4965409" y="1252416"/>
            <a:ext cx="1258518" cy="1258518"/>
          </a:xfrm>
          <a:prstGeom prst="rect">
            <a:avLst/>
          </a:prstGeom>
        </p:spPr>
      </p:pic>
      <p:sp>
        <p:nvSpPr>
          <p:cNvPr id="16" name="TextBox 15">
            <a:extLst>
              <a:ext uri="{FF2B5EF4-FFF2-40B4-BE49-F238E27FC236}">
                <a16:creationId xmlns:a16="http://schemas.microsoft.com/office/drawing/2014/main" id="{5A735293-87D8-8CAC-E0CA-70E6BB935B57}"/>
              </a:ext>
            </a:extLst>
          </p:cNvPr>
          <p:cNvSpPr txBox="1"/>
          <p:nvPr/>
        </p:nvSpPr>
        <p:spPr>
          <a:xfrm>
            <a:off x="6427286" y="3351484"/>
            <a:ext cx="4808976" cy="830997"/>
          </a:xfrm>
          <a:prstGeom prst="rect">
            <a:avLst/>
          </a:prstGeom>
          <a:noFill/>
        </p:spPr>
        <p:txBody>
          <a:bodyPr wrap="square">
            <a:spAutoFit/>
          </a:bodyPr>
          <a:lstStyle/>
          <a:p>
            <a:pPr>
              <a:defRPr sz="2400">
                <a:solidFill>
                  <a:schemeClr val="bg2">
                    <a:lumMod val="25000"/>
                  </a:schemeClr>
                </a:solidFill>
              </a:defRPr>
            </a:pPr>
            <a:r>
              <a:t>Augmentation moyenne du revenu de</a:t>
            </a:r>
            <a:endParaRPr lang="en-US" sz="2400"/>
          </a:p>
        </p:txBody>
      </p:sp>
      <p:sp>
        <p:nvSpPr>
          <p:cNvPr id="18" name="TextBox 17">
            <a:extLst>
              <a:ext uri="{FF2B5EF4-FFF2-40B4-BE49-F238E27FC236}">
                <a16:creationId xmlns:a16="http://schemas.microsoft.com/office/drawing/2014/main" id="{02FBDC5A-D8BC-1372-6317-A0725F7EF076}"/>
              </a:ext>
            </a:extLst>
          </p:cNvPr>
          <p:cNvSpPr txBox="1"/>
          <p:nvPr/>
        </p:nvSpPr>
        <p:spPr>
          <a:xfrm>
            <a:off x="6397640" y="4184233"/>
            <a:ext cx="1372492" cy="707886"/>
          </a:xfrm>
          <a:prstGeom prst="rect">
            <a:avLst/>
          </a:prstGeom>
          <a:noFill/>
        </p:spPr>
        <p:txBody>
          <a:bodyPr wrap="none">
            <a:spAutoFit/>
          </a:bodyPr>
          <a:lstStyle/>
          <a:p>
            <a:pPr>
              <a:defRPr sz="4000" b="1">
                <a:solidFill>
                  <a:schemeClr val="accent4"/>
                </a:solidFill>
                <a:latin typeface="Open Sans" panose="020B0606030504020204" pitchFamily="34" charset="0"/>
                <a:ea typeface="Open Sans" panose="020B0606030504020204" pitchFamily="34" charset="0"/>
                <a:cs typeface="Open Sans" panose="020B0606030504020204" pitchFamily="34" charset="0"/>
              </a:defRPr>
            </a:pPr>
            <a:r>
              <a:t>200</a:t>
            </a:r>
            <a:r>
              <a:rPr baseline="30000"/>
              <a:t>%</a:t>
            </a:r>
          </a:p>
        </p:txBody>
      </p:sp>
      <p:pic>
        <p:nvPicPr>
          <p:cNvPr id="20" name="Picture 19" descr="Icon  Description automatically generated">
            <a:extLst>
              <a:ext uri="{FF2B5EF4-FFF2-40B4-BE49-F238E27FC236}">
                <a16:creationId xmlns:a16="http://schemas.microsoft.com/office/drawing/2014/main" id="{D2F16718-1BFF-1308-92C5-75C13A9DA4FC}"/>
              </a:ext>
            </a:extLst>
          </p:cNvPr>
          <p:cNvPicPr>
            <a:picLocks noChangeAspect="1"/>
          </p:cNvPicPr>
          <p:nvPr/>
        </p:nvPicPr>
        <p:blipFill>
          <a:blip r:embed="rId5"/>
          <a:stretch>
            <a:fillRect/>
          </a:stretch>
        </p:blipFill>
        <p:spPr>
          <a:xfrm rot="10800000">
            <a:off x="5052667" y="3600988"/>
            <a:ext cx="1080903" cy="1080903"/>
          </a:xfrm>
          <a:prstGeom prst="rect">
            <a:avLst/>
          </a:prstGeom>
        </p:spPr>
      </p:pic>
      <p:sp>
        <p:nvSpPr>
          <p:cNvPr id="23" name="Slide Number Placeholder 22">
            <a:extLst>
              <a:ext uri="{FF2B5EF4-FFF2-40B4-BE49-F238E27FC236}">
                <a16:creationId xmlns:a16="http://schemas.microsoft.com/office/drawing/2014/main" id="{EB433D99-F3C8-EBE0-4A69-826FF95E31CC}"/>
              </a:ext>
            </a:extLst>
          </p:cNvPr>
          <p:cNvSpPr>
            <a:spLocks noGrp="1"/>
          </p:cNvSpPr>
          <p:nvPr>
            <p:ph type="sldNum" sz="quarter" idx="12"/>
          </p:nvPr>
        </p:nvSpPr>
        <p:spPr/>
        <p:txBody>
          <a:bodyPr/>
          <a:lstStyle/>
          <a:p>
            <a:fld id="{6DD660AA-F4B9-9E4A-970E-DF14D91E0EC0}" type="slidenum">
              <a:rPr lang="en-US" smtClean="0"/>
              <a:t>10</a:t>
            </a:fld>
            <a:endParaRPr lang="en-US"/>
          </a:p>
        </p:txBody>
      </p:sp>
      <p:pic>
        <p:nvPicPr>
          <p:cNvPr id="2" name="Picture 3">
            <a:extLst>
              <a:ext uri="{FF2B5EF4-FFF2-40B4-BE49-F238E27FC236}">
                <a16:creationId xmlns:a16="http://schemas.microsoft.com/office/drawing/2014/main" id="{ABCF82B9-C207-3268-181B-F5D4C1879066}"/>
              </a:ext>
            </a:extLst>
          </p:cNvPr>
          <p:cNvPicPr>
            <a:picLocks noChangeAspect="1"/>
          </p:cNvPicPr>
          <p:nvPr/>
        </p:nvPicPr>
        <p:blipFill rotWithShape="1">
          <a:blip r:embed="rId6"/>
          <a:srcRect l="7336" t="-214" r="1339" b="78"/>
          <a:stretch/>
        </p:blipFill>
        <p:spPr>
          <a:xfrm>
            <a:off x="622852" y="-13253"/>
            <a:ext cx="3794141" cy="6203817"/>
          </a:xfrm>
          <a:prstGeom prst="rect">
            <a:avLst/>
          </a:prstGeom>
        </p:spPr>
      </p:pic>
    </p:spTree>
    <p:extLst>
      <p:ext uri="{BB962C8B-B14F-4D97-AF65-F5344CB8AC3E}">
        <p14:creationId xmlns:p14="http://schemas.microsoft.com/office/powerpoint/2010/main" val="17537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A57A1E5-BB56-3949-BF3A-C64C36CAB647}"/>
              </a:ext>
            </a:extLst>
          </p:cNvPr>
          <p:cNvSpPr>
            <a:spLocks noGrp="1"/>
          </p:cNvSpPr>
          <p:nvPr>
            <p:ph type="body" sz="quarter" idx="13"/>
          </p:nvPr>
        </p:nvSpPr>
        <p:spPr>
          <a:xfrm>
            <a:off x="4962321" y="1470610"/>
            <a:ext cx="6227220" cy="3228343"/>
          </a:xfrm>
        </p:spPr>
        <p:txBody>
          <a:bodyPr>
            <a:normAutofit lnSpcReduction="10000"/>
          </a:bodyPr>
          <a:lstStyle/>
          <a:p>
            <a:pPr marL="172720" indent="-172720">
              <a:defRPr>
                <a:latin typeface="Calibri Light"/>
                <a:ea typeface="Open Sans"/>
                <a:cs typeface="Open Sans"/>
              </a:defRPr>
            </a:pPr>
            <a:r>
              <a:t>« Je </a:t>
            </a:r>
            <a:r>
              <a:rPr err="1"/>
              <a:t>gagne</a:t>
            </a:r>
            <a:r>
              <a:t> </a:t>
            </a:r>
            <a:r>
              <a:rPr err="1"/>
              <a:t>maintenant</a:t>
            </a:r>
            <a:r>
              <a:t> le triple du </a:t>
            </a:r>
            <a:r>
              <a:rPr err="1"/>
              <a:t>salaire</a:t>
            </a:r>
            <a:r>
              <a:t> minimum. </a:t>
            </a:r>
            <a:r>
              <a:rPr err="1"/>
              <a:t>C’était</a:t>
            </a:r>
            <a:r>
              <a:t> la première </a:t>
            </a:r>
            <a:r>
              <a:rPr err="1"/>
              <a:t>fois</a:t>
            </a:r>
            <a:r>
              <a:t> que je </a:t>
            </a:r>
            <a:r>
              <a:rPr err="1"/>
              <a:t>voyais</a:t>
            </a:r>
            <a:r>
              <a:t> ma </a:t>
            </a:r>
            <a:r>
              <a:rPr err="1"/>
              <a:t>famille</a:t>
            </a:r>
            <a:r>
              <a:t> manger </a:t>
            </a:r>
            <a:r>
              <a:rPr err="1"/>
              <a:t>assez</a:t>
            </a:r>
            <a:r>
              <a:t> </a:t>
            </a:r>
            <a:r>
              <a:rPr lang="en-US"/>
              <a:t>et </a:t>
            </a:r>
            <a:r>
              <a:rPr lang="en-US" err="1"/>
              <a:t>s’inquiéter</a:t>
            </a:r>
            <a:r>
              <a:rPr lang="en-US"/>
              <a:t> </a:t>
            </a:r>
            <a:r>
              <a:rPr lang="en-US" err="1"/>
              <a:t>moins</a:t>
            </a:r>
            <a:r>
              <a:rPr lang="en-US"/>
              <a:t> </a:t>
            </a:r>
            <a:r>
              <a:t>du </a:t>
            </a:r>
            <a:r>
              <a:rPr err="1"/>
              <a:t>lendemain</a:t>
            </a:r>
            <a:r>
              <a:t>. </a:t>
            </a:r>
            <a:r>
              <a:rPr err="1"/>
              <a:t>Maintenant</a:t>
            </a:r>
            <a:r>
              <a:t>, je ne suis plus </a:t>
            </a:r>
            <a:r>
              <a:rPr err="1"/>
              <a:t>qu’à</a:t>
            </a:r>
            <a:r>
              <a:t> </a:t>
            </a:r>
            <a:r>
              <a:rPr err="1"/>
              <a:t>quelques</a:t>
            </a:r>
            <a:r>
              <a:t> </a:t>
            </a:r>
            <a:r>
              <a:rPr err="1"/>
              <a:t>mois</a:t>
            </a:r>
            <a:r>
              <a:t> de terminer </a:t>
            </a:r>
            <a:r>
              <a:rPr err="1"/>
              <a:t>mon</a:t>
            </a:r>
            <a:r>
              <a:t> premier </a:t>
            </a:r>
            <a:r>
              <a:rPr err="1"/>
              <a:t>certificat</a:t>
            </a:r>
            <a:r>
              <a:t> </a:t>
            </a:r>
            <a:r>
              <a:rPr err="1"/>
              <a:t>en</a:t>
            </a:r>
            <a:r>
              <a:t> tant </a:t>
            </a:r>
            <a:r>
              <a:rPr err="1"/>
              <a:t>qu’ingénieur</a:t>
            </a:r>
            <a:r>
              <a:t> </a:t>
            </a:r>
            <a:r>
              <a:rPr lang="en-US"/>
              <a:t>du</a:t>
            </a:r>
            <a:r>
              <a:t> support technique. »</a:t>
            </a:r>
          </a:p>
        </p:txBody>
      </p:sp>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131468" y="4705638"/>
            <a:ext cx="6207125" cy="962488"/>
          </a:xfrm>
        </p:spPr>
        <p:txBody>
          <a:bodyPr>
            <a:normAutofit/>
          </a:bodyPr>
          <a:lstStyle/>
          <a:p>
            <a:pPr marL="4445">
              <a:defRPr sz="2000">
                <a:latin typeface="Calibri Light"/>
                <a:ea typeface="Open Sans"/>
                <a:cs typeface="Open Sans"/>
              </a:defRPr>
            </a:pPr>
            <a:r>
              <a:t>JONATHAN ORDILLAS</a:t>
            </a:r>
          </a:p>
          <a:p>
            <a:pPr marL="4445">
              <a:defRPr i="1">
                <a:latin typeface="Calibri Light"/>
                <a:ea typeface="Open Sans"/>
                <a:cs typeface="Open Sans"/>
              </a:defRPr>
            </a:pPr>
            <a:r>
              <a:t>Philippines</a:t>
            </a:r>
            <a:endParaRPr lang="en-US">
              <a:latin typeface="Calibri Light"/>
              <a:ea typeface="Open Sans"/>
              <a:cs typeface="Open Sans"/>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smtClean="0"/>
              <a:t>11</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15" name="Picture Placeholder 14">
            <a:extLst>
              <a:ext uri="{FF2B5EF4-FFF2-40B4-BE49-F238E27FC236}">
                <a16:creationId xmlns:a16="http://schemas.microsoft.com/office/drawing/2014/main" id="{6C3C29F9-ED91-494B-33B7-99062A0E7D15}"/>
              </a:ext>
            </a:extLst>
          </p:cNvPr>
          <p:cNvPicPr>
            <a:picLocks noGrp="1" noChangeAspect="1"/>
          </p:cNvPicPr>
          <p:nvPr>
            <p:ph type="pic" idx="1"/>
          </p:nvPr>
        </p:nvPicPr>
        <p:blipFill rotWithShape="1">
          <a:blip r:embed="rId5" cstate="screen">
            <a:extLst>
              <a:ext uri="{28A0092B-C50C-407E-A947-70E740481C1C}">
                <a14:useLocalDpi xmlns:a14="http://schemas.microsoft.com/office/drawing/2010/main"/>
              </a:ext>
            </a:extLst>
          </a:blip>
          <a:srcRect/>
          <a:stretch/>
        </p:blipFill>
        <p:spPr>
          <a:xfrm>
            <a:off x="1259744" y="1364555"/>
            <a:ext cx="2916076" cy="4070960"/>
          </a:xfrm>
        </p:spPr>
      </p:pic>
    </p:spTree>
    <p:extLst>
      <p:ext uri="{BB962C8B-B14F-4D97-AF65-F5344CB8AC3E}">
        <p14:creationId xmlns:p14="http://schemas.microsoft.com/office/powerpoint/2010/main" val="386647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A57A1E5-BB56-3949-BF3A-C64C36CAB647}"/>
              </a:ext>
            </a:extLst>
          </p:cNvPr>
          <p:cNvSpPr>
            <a:spLocks noGrp="1"/>
          </p:cNvSpPr>
          <p:nvPr>
            <p:ph type="body" sz="quarter" idx="13"/>
          </p:nvPr>
        </p:nvSpPr>
        <p:spPr>
          <a:xfrm>
            <a:off x="4819685" y="1700780"/>
            <a:ext cx="6014813" cy="3228343"/>
          </a:xfrm>
        </p:spPr>
        <p:txBody>
          <a:bodyPr>
            <a:normAutofit/>
          </a:bodyPr>
          <a:lstStyle/>
          <a:p>
            <a:pPr marL="172720" indent="-172720">
              <a:defRPr>
                <a:latin typeface="Calibri Light"/>
                <a:ea typeface="Open Sans"/>
                <a:cs typeface="Open Sans"/>
              </a:defRPr>
            </a:pPr>
            <a:r>
              <a:t>« Je pensais que je ne terminerais jamais mes études, et c’est encore plus une bénédiction que les compétences que j’ai acquises en poursuivant des certificats m’aient mené à une carrière. »</a:t>
            </a:r>
          </a:p>
        </p:txBody>
      </p:sp>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4975497" y="4469074"/>
            <a:ext cx="6207125" cy="962488"/>
          </a:xfrm>
        </p:spPr>
        <p:txBody>
          <a:bodyPr>
            <a:normAutofit/>
          </a:bodyPr>
          <a:lstStyle/>
          <a:p>
            <a:pPr marL="4445">
              <a:defRPr sz="2000">
                <a:latin typeface="Calibri Light"/>
                <a:ea typeface="Open Sans"/>
                <a:cs typeface="Open Sans"/>
              </a:defRPr>
            </a:pPr>
            <a:r>
              <a:t>CHRIS BLOUNT</a:t>
            </a:r>
          </a:p>
          <a:p>
            <a:pPr marL="4445">
              <a:defRPr i="1">
                <a:latin typeface="Calibri Light"/>
                <a:ea typeface="Open Sans"/>
                <a:cs typeface="Open Sans"/>
              </a:defRPr>
            </a:pPr>
            <a:r>
              <a:t>ÉTATS-UNIS</a:t>
            </a:r>
            <a:endParaRPr lang="en-US">
              <a:latin typeface="Calibri Light"/>
              <a:ea typeface="Open Sans"/>
              <a:cs typeface="Open Sans"/>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smtClean="0"/>
              <a:t>12</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2" name="Picture 5">
            <a:extLst>
              <a:ext uri="{FF2B5EF4-FFF2-40B4-BE49-F238E27FC236}">
                <a16:creationId xmlns:a16="http://schemas.microsoft.com/office/drawing/2014/main" id="{25F5284C-93E2-BAFD-BD8A-95BC2F617885}"/>
              </a:ext>
            </a:extLst>
          </p:cNvPr>
          <p:cNvPicPr>
            <a:picLocks noChangeAspect="1"/>
          </p:cNvPicPr>
          <p:nvPr/>
        </p:nvPicPr>
        <p:blipFill>
          <a:blip r:embed="rId4"/>
          <a:stretch>
            <a:fillRect/>
          </a:stretch>
        </p:blipFill>
        <p:spPr>
          <a:xfrm>
            <a:off x="1258957" y="1347217"/>
            <a:ext cx="2822713" cy="4084050"/>
          </a:xfrm>
          <a:prstGeom prst="rect">
            <a:avLst/>
          </a:prstGeom>
        </p:spPr>
      </p:pic>
    </p:spTree>
    <p:extLst>
      <p:ext uri="{BB962C8B-B14F-4D97-AF65-F5344CB8AC3E}">
        <p14:creationId xmlns:p14="http://schemas.microsoft.com/office/powerpoint/2010/main" val="191399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BAAC49E4-DAA1-2330-407C-E3EDD89D35FD}"/>
              </a:ext>
            </a:extLst>
          </p:cNvPr>
          <p:cNvPicPr>
            <a:picLocks noChangeAspect="1"/>
          </p:cNvPicPr>
          <p:nvPr/>
        </p:nvPicPr>
        <p:blipFill rotWithShape="1">
          <a:blip r:embed="rId4"/>
          <a:srcRect t="5280" r="-537" b="23622"/>
          <a:stretch/>
        </p:blipFill>
        <p:spPr>
          <a:xfrm>
            <a:off x="-231" y="1385"/>
            <a:ext cx="12281451" cy="5920286"/>
          </a:xfrm>
          <a:prstGeom prst="rect">
            <a:avLst/>
          </a:prstGeom>
        </p:spPr>
      </p:pic>
      <p:sp>
        <p:nvSpPr>
          <p:cNvPr id="3" name="Rectangle 2">
            <a:extLst>
              <a:ext uri="{FF2B5EF4-FFF2-40B4-BE49-F238E27FC236}">
                <a16:creationId xmlns:a16="http://schemas.microsoft.com/office/drawing/2014/main" id="{7C481D4E-3A9E-6581-F474-8B4DC57625E6}"/>
              </a:ext>
            </a:extLst>
          </p:cNvPr>
          <p:cNvSpPr/>
          <p:nvPr/>
        </p:nvSpPr>
        <p:spPr>
          <a:xfrm>
            <a:off x="-20601" y="5772902"/>
            <a:ext cx="12290555" cy="1119572"/>
          </a:xfrm>
          <a:prstGeom prst="rect">
            <a:avLst/>
          </a:prstGeom>
          <a:solidFill>
            <a:srgbClr val="4545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26" name="Slide Number Placeholder 3">
            <a:extLst>
              <a:ext uri="{FF2B5EF4-FFF2-40B4-BE49-F238E27FC236}">
                <a16:creationId xmlns:a16="http://schemas.microsoft.com/office/drawing/2014/main" id="{EA71D5DF-E7DC-3741-8D95-947602EF5B8B}"/>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cs typeface="Calibri"/>
            </a:endParaRPr>
          </a:p>
        </p:txBody>
      </p:sp>
      <p:sp>
        <p:nvSpPr>
          <p:cNvPr id="6" name="Text Placeholder 2">
            <a:extLst>
              <a:ext uri="{FF2B5EF4-FFF2-40B4-BE49-F238E27FC236}">
                <a16:creationId xmlns:a16="http://schemas.microsoft.com/office/drawing/2014/main" id="{03DB7BEA-64A9-8BC2-B0AF-DFD61C001233}"/>
              </a:ext>
            </a:extLst>
          </p:cNvPr>
          <p:cNvSpPr txBox="1">
            <a:spLocks/>
          </p:cNvSpPr>
          <p:nvPr/>
        </p:nvSpPr>
        <p:spPr>
          <a:xfrm>
            <a:off x="1589557" y="5982009"/>
            <a:ext cx="10900641" cy="90476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Open Sans" pitchFamily="2" charset="0"/>
                <a:cs typeface="Open Sans"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Open Sans" pitchFamily="2" charset="0"/>
                <a:cs typeface="Open Sans"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Open Sans" pitchFamily="2" charset="0"/>
                <a:cs typeface="Open Sans"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Open Sans" pitchFamily="2" charset="0"/>
                <a:cs typeface="Open Sans"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Open Sans" pitchFamily="2" charset="0"/>
                <a:cs typeface="Open Sans"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defRPr sz="4800">
                <a:solidFill>
                  <a:schemeClr val="bg1"/>
                </a:solidFill>
                <a:latin typeface="Roboto Slab Light"/>
                <a:ea typeface="Roboto Slab Light"/>
                <a:cs typeface="Open Sans"/>
              </a:defRPr>
            </a:pPr>
            <a:r>
              <a:rPr lang="en-US" sz="4600" err="1">
                <a:solidFill>
                  <a:srgbClr val="FFFFFF"/>
                </a:solidFill>
                <a:latin typeface="Roboto Slab Light"/>
                <a:cs typeface="Roboto Slab Light"/>
              </a:rPr>
              <a:t>Economiser</a:t>
            </a:r>
            <a:r>
              <a:rPr lang="en-US" sz="4600">
                <a:solidFill>
                  <a:srgbClr val="FFFFFF"/>
                </a:solidFill>
                <a:latin typeface="Roboto Slab Light"/>
                <a:cs typeface="Roboto Slab Light"/>
              </a:rPr>
              <a:t> du temps et de </a:t>
            </a:r>
            <a:r>
              <a:rPr lang="en-US" sz="4600" err="1">
                <a:solidFill>
                  <a:srgbClr val="FFFFFF"/>
                </a:solidFill>
                <a:latin typeface="Roboto Slab Light"/>
                <a:cs typeface="Roboto Slab Light"/>
              </a:rPr>
              <a:t>l'argent</a:t>
            </a:r>
            <a:endParaRPr lang="en-US" sz="4600" err="1"/>
          </a:p>
        </p:txBody>
      </p:sp>
      <p:sp>
        <p:nvSpPr>
          <p:cNvPr id="5" name="Rectangle 4">
            <a:extLst>
              <a:ext uri="{FF2B5EF4-FFF2-40B4-BE49-F238E27FC236}">
                <a16:creationId xmlns:a16="http://schemas.microsoft.com/office/drawing/2014/main" id="{07B22FE7-E9AD-1295-89CE-0E95D93FF3AF}"/>
              </a:ext>
            </a:extLst>
          </p:cNvPr>
          <p:cNvSpPr/>
          <p:nvPr/>
        </p:nvSpPr>
        <p:spPr>
          <a:xfrm>
            <a:off x="341247" y="5255407"/>
            <a:ext cx="1598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8" name="Graphic 8">
            <a:extLst>
              <a:ext uri="{FF2B5EF4-FFF2-40B4-BE49-F238E27FC236}">
                <a16:creationId xmlns:a16="http://schemas.microsoft.com/office/drawing/2014/main" id="{2E9F2A2E-C102-077C-0022-A9BC926B21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342" y="5478745"/>
            <a:ext cx="1000800" cy="1012800"/>
          </a:xfrm>
          <a:prstGeom prst="rect">
            <a:avLst/>
          </a:prstGeom>
        </p:spPr>
      </p:pic>
    </p:spTree>
    <p:extLst>
      <p:ext uri="{BB962C8B-B14F-4D97-AF65-F5344CB8AC3E}">
        <p14:creationId xmlns:p14="http://schemas.microsoft.com/office/powerpoint/2010/main" val="338837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smtClean="0"/>
              <a:t>14</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6" name="Rectangle 5">
            <a:extLst>
              <a:ext uri="{FF2B5EF4-FFF2-40B4-BE49-F238E27FC236}">
                <a16:creationId xmlns:a16="http://schemas.microsoft.com/office/drawing/2014/main" id="{655E97C9-33F8-118B-FDD6-2BCBC8DD2D1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7" name="Picture 6" descr="Text  Description automatically generated">
            <a:extLst>
              <a:ext uri="{FF2B5EF4-FFF2-40B4-BE49-F238E27FC236}">
                <a16:creationId xmlns:a16="http://schemas.microsoft.com/office/drawing/2014/main" id="{CDCE4342-949B-F53F-0063-5550991BF1E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9" name="Text Placeholder 1">
            <a:extLst>
              <a:ext uri="{FF2B5EF4-FFF2-40B4-BE49-F238E27FC236}">
                <a16:creationId xmlns:a16="http://schemas.microsoft.com/office/drawing/2014/main" id="{BB15C4F1-E9E5-652F-3489-C6E81DA9DC88}"/>
              </a:ext>
            </a:extLst>
          </p:cNvPr>
          <p:cNvSpPr txBox="1">
            <a:spLocks/>
          </p:cNvSpPr>
          <p:nvPr/>
        </p:nvSpPr>
        <p:spPr>
          <a:xfrm>
            <a:off x="785369" y="1422484"/>
            <a:ext cx="6755593" cy="602826"/>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t>Option à faible coût</a:t>
            </a:r>
          </a:p>
        </p:txBody>
      </p:sp>
      <p:sp>
        <p:nvSpPr>
          <p:cNvPr id="2" name="Rectangle 1">
            <a:extLst>
              <a:ext uri="{FF2B5EF4-FFF2-40B4-BE49-F238E27FC236}">
                <a16:creationId xmlns:a16="http://schemas.microsoft.com/office/drawing/2014/main" id="{77C01B92-77F4-0A39-C1D5-76BF30E3689A}"/>
              </a:ext>
            </a:extLst>
          </p:cNvPr>
          <p:cNvSpPr/>
          <p:nvPr/>
        </p:nvSpPr>
        <p:spPr>
          <a:xfrm>
            <a:off x="785369" y="2323499"/>
            <a:ext cx="5870841" cy="1563377"/>
          </a:xfrm>
          <a:prstGeom prst="rect">
            <a:avLst/>
          </a:prstGeom>
        </p:spPr>
        <p:txBody>
          <a:bodyPr wrap="square" lIns="91440" tIns="45720" rIns="91440" bIns="45720" anchor="t">
            <a:spAutoFit/>
          </a:bodyPr>
          <a:lstStyle/>
          <a:p>
            <a:pPr>
              <a:lnSpc>
                <a:spcPct val="110000"/>
              </a:lnSpc>
              <a:defRPr sz="2200"/>
            </a:pPr>
            <a:r>
              <a:t>Les frais de </a:t>
            </a:r>
            <a:r>
              <a:rPr err="1"/>
              <a:t>scolarité</a:t>
            </a:r>
            <a:r>
              <a:t> pour BYU-Pathway Worldwide </a:t>
            </a:r>
            <a:r>
              <a:rPr err="1"/>
              <a:t>sont</a:t>
            </a:r>
            <a:r>
              <a:t> </a:t>
            </a:r>
            <a:r>
              <a:rPr err="1"/>
              <a:t>considérablement</a:t>
            </a:r>
            <a:r>
              <a:t> </a:t>
            </a:r>
            <a:r>
              <a:rPr err="1"/>
              <a:t>réduits</a:t>
            </a:r>
            <a:r>
              <a:t>. </a:t>
            </a:r>
            <a:r>
              <a:rPr lang="en-US" err="1"/>
              <a:t>Ils</a:t>
            </a:r>
            <a:r>
              <a:t> </a:t>
            </a:r>
            <a:r>
              <a:rPr lang="en-US" err="1"/>
              <a:t>varient</a:t>
            </a:r>
            <a:r>
              <a:t> </a:t>
            </a:r>
            <a:r>
              <a:rPr err="1"/>
              <a:t>selon</a:t>
            </a:r>
            <a:r>
              <a:t> les pays et </a:t>
            </a:r>
            <a:r>
              <a:rPr lang="en-US" err="1"/>
              <a:t>ils</a:t>
            </a:r>
            <a:r>
              <a:rPr lang="en-US"/>
              <a:t> </a:t>
            </a:r>
            <a:r>
              <a:rPr lang="en-US" err="1"/>
              <a:t>sont</a:t>
            </a:r>
            <a:r>
              <a:rPr lang="en-US"/>
              <a:t> </a:t>
            </a:r>
            <a:r>
              <a:rPr lang="en-US" err="1"/>
              <a:t>adaptés</a:t>
            </a:r>
            <a:r>
              <a:t> à la situation </a:t>
            </a:r>
            <a:r>
              <a:rPr err="1"/>
              <a:t>économique</a:t>
            </a:r>
            <a:r>
              <a:t> des </a:t>
            </a:r>
            <a:r>
              <a:rPr err="1"/>
              <a:t>résidents</a:t>
            </a:r>
            <a:r>
              <a:t> </a:t>
            </a:r>
            <a:r>
              <a:rPr err="1"/>
              <a:t>locaux</a:t>
            </a:r>
            <a:r>
              <a:t>.</a:t>
            </a:r>
          </a:p>
        </p:txBody>
      </p:sp>
      <p:sp>
        <p:nvSpPr>
          <p:cNvPr id="3" name="Rectangle 2">
            <a:extLst>
              <a:ext uri="{FF2B5EF4-FFF2-40B4-BE49-F238E27FC236}">
                <a16:creationId xmlns:a16="http://schemas.microsoft.com/office/drawing/2014/main" id="{BE07B411-CDC2-D3FF-7B15-5B15B41B0571}"/>
              </a:ext>
            </a:extLst>
          </p:cNvPr>
          <p:cNvSpPr/>
          <p:nvPr/>
        </p:nvSpPr>
        <p:spPr>
          <a:xfrm>
            <a:off x="785263" y="4144643"/>
            <a:ext cx="6097256" cy="1490536"/>
          </a:xfrm>
          <a:prstGeom prst="rect">
            <a:avLst/>
          </a:prstGeom>
        </p:spPr>
        <p:txBody>
          <a:bodyPr wrap="square">
            <a:spAutoFit/>
          </a:bodyPr>
          <a:lstStyle/>
          <a:p>
            <a:pPr>
              <a:lnSpc>
                <a:spcPct val="110000"/>
              </a:lnSpc>
              <a:spcAft>
                <a:spcPts val="300"/>
              </a:spcAft>
              <a:defRPr sz="2800" b="1">
                <a:solidFill>
                  <a:srgbClr val="3A929D"/>
                </a:solidFill>
              </a:defRPr>
            </a:pPr>
            <a:r>
              <a:t>Chaque étudiant est admissible à un rabais garanti sur les frais de scolarité de 10, 25 ou 50%!</a:t>
            </a:r>
          </a:p>
        </p:txBody>
      </p:sp>
      <p:pic>
        <p:nvPicPr>
          <p:cNvPr id="12" name="Graphic 11">
            <a:extLst>
              <a:ext uri="{FF2B5EF4-FFF2-40B4-BE49-F238E27FC236}">
                <a16:creationId xmlns:a16="http://schemas.microsoft.com/office/drawing/2014/main" id="{4E218C42-2E0B-B361-A1B2-1B67D78533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8751" y="2475325"/>
            <a:ext cx="2722728" cy="2722728"/>
          </a:xfrm>
          <a:prstGeom prst="rect">
            <a:avLst/>
          </a:prstGeom>
        </p:spPr>
      </p:pic>
    </p:spTree>
    <p:extLst>
      <p:ext uri="{BB962C8B-B14F-4D97-AF65-F5344CB8AC3E}">
        <p14:creationId xmlns:p14="http://schemas.microsoft.com/office/powerpoint/2010/main" val="144197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smtClean="0"/>
              <a:t>15</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6" name="Rectangle 5">
            <a:extLst>
              <a:ext uri="{FF2B5EF4-FFF2-40B4-BE49-F238E27FC236}">
                <a16:creationId xmlns:a16="http://schemas.microsoft.com/office/drawing/2014/main" id="{655E97C9-33F8-118B-FDD6-2BCBC8DD2D1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7" name="Picture 6" descr="Text  Description automatically generated">
            <a:extLst>
              <a:ext uri="{FF2B5EF4-FFF2-40B4-BE49-F238E27FC236}">
                <a16:creationId xmlns:a16="http://schemas.microsoft.com/office/drawing/2014/main" id="{CDCE4342-949B-F53F-0063-5550991BF1E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9" name="Text Placeholder 1">
            <a:extLst>
              <a:ext uri="{FF2B5EF4-FFF2-40B4-BE49-F238E27FC236}">
                <a16:creationId xmlns:a16="http://schemas.microsoft.com/office/drawing/2014/main" id="{BB15C4F1-E9E5-652F-3489-C6E81DA9DC88}"/>
              </a:ext>
            </a:extLst>
          </p:cNvPr>
          <p:cNvSpPr txBox="1">
            <a:spLocks/>
          </p:cNvSpPr>
          <p:nvPr/>
        </p:nvSpPr>
        <p:spPr>
          <a:xfrm>
            <a:off x="785369" y="1422484"/>
            <a:ext cx="6755593" cy="602826"/>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t>Option à faible coût</a:t>
            </a:r>
          </a:p>
        </p:txBody>
      </p:sp>
      <p:sp>
        <p:nvSpPr>
          <p:cNvPr id="2" name="Rectangle 1">
            <a:extLst>
              <a:ext uri="{FF2B5EF4-FFF2-40B4-BE49-F238E27FC236}">
                <a16:creationId xmlns:a16="http://schemas.microsoft.com/office/drawing/2014/main" id="{77C01B92-77F4-0A39-C1D5-76BF30E3689A}"/>
              </a:ext>
            </a:extLst>
          </p:cNvPr>
          <p:cNvSpPr/>
          <p:nvPr/>
        </p:nvSpPr>
        <p:spPr>
          <a:xfrm>
            <a:off x="785369" y="2323499"/>
            <a:ext cx="5870841" cy="1190967"/>
          </a:xfrm>
          <a:prstGeom prst="rect">
            <a:avLst/>
          </a:prstGeom>
        </p:spPr>
        <p:txBody>
          <a:bodyPr wrap="square" lIns="91440" tIns="45720" rIns="91440" bIns="45720" anchor="t">
            <a:spAutoFit/>
          </a:bodyPr>
          <a:lstStyle/>
          <a:p>
            <a:pPr>
              <a:lnSpc>
                <a:spcPct val="110000"/>
              </a:lnSpc>
              <a:defRPr sz="2200"/>
            </a:pPr>
            <a:r>
              <a:t>Les frais de scolarité pour BYU-Pathway Worldwide sont considérablement réduits. Il varie selon les pays et est adapté à la situation économique des résidents locaux.</a:t>
            </a:r>
          </a:p>
        </p:txBody>
      </p:sp>
      <p:sp>
        <p:nvSpPr>
          <p:cNvPr id="3" name="Rectangle 2">
            <a:extLst>
              <a:ext uri="{FF2B5EF4-FFF2-40B4-BE49-F238E27FC236}">
                <a16:creationId xmlns:a16="http://schemas.microsoft.com/office/drawing/2014/main" id="{BE07B411-CDC2-D3FF-7B15-5B15B41B0571}"/>
              </a:ext>
            </a:extLst>
          </p:cNvPr>
          <p:cNvSpPr/>
          <p:nvPr/>
        </p:nvSpPr>
        <p:spPr>
          <a:xfrm>
            <a:off x="785263" y="4144643"/>
            <a:ext cx="6116466" cy="1490536"/>
          </a:xfrm>
          <a:prstGeom prst="rect">
            <a:avLst/>
          </a:prstGeom>
        </p:spPr>
        <p:txBody>
          <a:bodyPr wrap="square">
            <a:spAutoFit/>
          </a:bodyPr>
          <a:lstStyle/>
          <a:p>
            <a:pPr>
              <a:lnSpc>
                <a:spcPct val="110000"/>
              </a:lnSpc>
              <a:spcAft>
                <a:spcPts val="300"/>
              </a:spcAft>
              <a:defRPr sz="2800" b="1">
                <a:solidFill>
                  <a:srgbClr val="3A929D"/>
                </a:solidFill>
              </a:defRPr>
            </a:pPr>
            <a:r>
              <a:t>Chaque étudiant est admissible à un rabais garanti sur les frais de scolarité de 10, 25 ou 50%!</a:t>
            </a:r>
          </a:p>
        </p:txBody>
      </p:sp>
      <p:sp>
        <p:nvSpPr>
          <p:cNvPr id="5" name="Oval 4">
            <a:extLst>
              <a:ext uri="{FF2B5EF4-FFF2-40B4-BE49-F238E27FC236}">
                <a16:creationId xmlns:a16="http://schemas.microsoft.com/office/drawing/2014/main" id="{ED6886AA-EEE7-9E02-E4DF-0DAF0C60BD8A}"/>
              </a:ext>
            </a:extLst>
          </p:cNvPr>
          <p:cNvSpPr/>
          <p:nvPr/>
        </p:nvSpPr>
        <p:spPr>
          <a:xfrm>
            <a:off x="8695283" y="2126070"/>
            <a:ext cx="1965278" cy="1965278"/>
          </a:xfrm>
          <a:prstGeom prst="ellipse">
            <a:avLst/>
          </a:prstGeom>
          <a:solidFill>
            <a:schemeClr val="bg1"/>
          </a:solid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anchor="ctr"/>
          <a:lstStyle/>
          <a:p>
            <a:pPr algn="ctr">
              <a:defRPr sz="6000">
                <a:solidFill>
                  <a:schemeClr val="tx2">
                    <a:lumMod val="90000"/>
                    <a:lumOff val="10000"/>
                  </a:schemeClr>
                </a:solidFill>
                <a:latin typeface="+mj-lt"/>
              </a:defRPr>
            </a:pPr>
            <a:r>
              <a:rPr sz="5400"/>
              <a:t>81 $</a:t>
            </a:r>
            <a:endParaRPr lang="en-US" sz="5400">
              <a:solidFill>
                <a:schemeClr val="tx2">
                  <a:lumMod val="90000"/>
                  <a:lumOff val="10000"/>
                </a:schemeClr>
              </a:solidFill>
              <a:latin typeface="+mj-lt"/>
              <a:cs typeface="Calibri Light"/>
            </a:endParaRPr>
          </a:p>
        </p:txBody>
      </p:sp>
      <p:pic>
        <p:nvPicPr>
          <p:cNvPr id="13" name="Graphic 12">
            <a:extLst>
              <a:ext uri="{FF2B5EF4-FFF2-40B4-BE49-F238E27FC236}">
                <a16:creationId xmlns:a16="http://schemas.microsoft.com/office/drawing/2014/main" id="{65841166-D978-FF83-76B3-A422F435D7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0923" y="2441137"/>
            <a:ext cx="2722728" cy="2722728"/>
          </a:xfrm>
          <a:prstGeom prst="rect">
            <a:avLst/>
          </a:prstGeom>
        </p:spPr>
      </p:pic>
      <p:sp>
        <p:nvSpPr>
          <p:cNvPr id="8" name="TextBox 7">
            <a:extLst>
              <a:ext uri="{FF2B5EF4-FFF2-40B4-BE49-F238E27FC236}">
                <a16:creationId xmlns:a16="http://schemas.microsoft.com/office/drawing/2014/main" id="{5864B0E4-E93F-F74B-7825-C74E2D53DD66}"/>
              </a:ext>
            </a:extLst>
          </p:cNvPr>
          <p:cNvSpPr txBox="1"/>
          <p:nvPr/>
        </p:nvSpPr>
        <p:spPr>
          <a:xfrm>
            <a:off x="9179559" y="4146749"/>
            <a:ext cx="1991058" cy="707886"/>
          </a:xfrm>
          <a:prstGeom prst="rect">
            <a:avLst/>
          </a:prstGeom>
          <a:noFill/>
        </p:spPr>
        <p:txBody>
          <a:bodyPr wrap="none" lIns="91440" tIns="45720" rIns="91440" bIns="45720" anchor="t">
            <a:spAutoFit/>
          </a:bodyPr>
          <a:lstStyle/>
          <a:p>
            <a:pPr>
              <a:defRPr sz="2400"/>
            </a:pPr>
            <a:r>
              <a:rPr lang="en-US" sz="2000" dirty="0"/>
              <a:t>par UV dans le</a:t>
            </a:r>
            <a:endParaRPr lang="en-US" sz="2000" dirty="0">
              <a:cs typeface="Calibri"/>
            </a:endParaRPr>
          </a:p>
          <a:p>
            <a:pPr>
              <a:defRPr sz="2400"/>
            </a:pPr>
            <a:r>
              <a:rPr lang="en-US" sz="2000" dirty="0" err="1"/>
              <a:t>États</a:t>
            </a:r>
            <a:r>
              <a:rPr lang="en-US" sz="2000" dirty="0"/>
              <a:t>-Unis</a:t>
            </a:r>
            <a:r>
              <a:rPr lang="en-US" sz="2000" baseline="30000" dirty="0"/>
              <a:t>*</a:t>
            </a:r>
            <a:r>
              <a:rPr lang="en-US" sz="2000" dirty="0"/>
              <a:t> (USD)</a:t>
            </a:r>
            <a:endParaRPr lang="en-US" sz="2000" dirty="0">
              <a:cs typeface="Calibri"/>
            </a:endParaRPr>
          </a:p>
        </p:txBody>
      </p:sp>
      <p:sp>
        <p:nvSpPr>
          <p:cNvPr id="10" name="TextBox 9">
            <a:extLst>
              <a:ext uri="{FF2B5EF4-FFF2-40B4-BE49-F238E27FC236}">
                <a16:creationId xmlns:a16="http://schemas.microsoft.com/office/drawing/2014/main" id="{8A83D00C-10EA-BDD4-8B23-F2598E0AD45B}"/>
              </a:ext>
            </a:extLst>
          </p:cNvPr>
          <p:cNvSpPr txBox="1"/>
          <p:nvPr/>
        </p:nvSpPr>
        <p:spPr>
          <a:xfrm>
            <a:off x="784582" y="6199983"/>
            <a:ext cx="6968574" cy="307777"/>
          </a:xfrm>
          <a:prstGeom prst="rect">
            <a:avLst/>
          </a:prstGeom>
          <a:noFill/>
        </p:spPr>
        <p:txBody>
          <a:bodyPr wrap="none" lIns="91440" tIns="45720" rIns="91440" bIns="45720" anchor="t">
            <a:spAutoFit/>
          </a:bodyPr>
          <a:lstStyle/>
          <a:p>
            <a:pPr>
              <a:defRPr sz="1400"/>
            </a:pPr>
            <a:r>
              <a:t>*Les étudiants qui commencent avec le parcours avancé (en contournant PathwayConnect) paient un tarif plus élevé.</a:t>
            </a:r>
            <a:endParaRPr lang="en-US" sz="1400">
              <a:cs typeface="Calibri"/>
            </a:endParaRPr>
          </a:p>
        </p:txBody>
      </p:sp>
    </p:spTree>
    <p:extLst>
      <p:ext uri="{BB962C8B-B14F-4D97-AF65-F5344CB8AC3E}">
        <p14:creationId xmlns:p14="http://schemas.microsoft.com/office/powerpoint/2010/main" val="305665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smtClean="0"/>
              <a:t>16</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6" name="Rectangle 5">
            <a:extLst>
              <a:ext uri="{FF2B5EF4-FFF2-40B4-BE49-F238E27FC236}">
                <a16:creationId xmlns:a16="http://schemas.microsoft.com/office/drawing/2014/main" id="{655E97C9-33F8-118B-FDD6-2BCBC8DD2D1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7" name="Picture 6" descr="Text  Description automatically generated">
            <a:extLst>
              <a:ext uri="{FF2B5EF4-FFF2-40B4-BE49-F238E27FC236}">
                <a16:creationId xmlns:a16="http://schemas.microsoft.com/office/drawing/2014/main" id="{CDCE4342-949B-F53F-0063-5550991BF1E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10" name="Picture 9" descr="A person in a graduation gown  Description automatically generated with medium confidence">
            <a:extLst>
              <a:ext uri="{FF2B5EF4-FFF2-40B4-BE49-F238E27FC236}">
                <a16:creationId xmlns:a16="http://schemas.microsoft.com/office/drawing/2014/main" id="{FFB4513E-47FF-EE84-011D-CB0CD0CCC45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1" name="Rectangle 10">
            <a:extLst>
              <a:ext uri="{FF2B5EF4-FFF2-40B4-BE49-F238E27FC236}">
                <a16:creationId xmlns:a16="http://schemas.microsoft.com/office/drawing/2014/main" id="{62146AE7-57A9-D950-371D-4985F55F6D87}"/>
              </a:ext>
            </a:extLst>
          </p:cNvPr>
          <p:cNvSpPr/>
          <p:nvPr/>
        </p:nvSpPr>
        <p:spPr>
          <a:xfrm>
            <a:off x="0" y="0"/>
            <a:ext cx="7192370" cy="6858000"/>
          </a:xfrm>
          <a:prstGeom prst="rect">
            <a:avLst/>
          </a:prstGeom>
          <a:gradFill flip="none" rotWithShape="1">
            <a:gsLst>
              <a:gs pos="53000">
                <a:schemeClr val="accent1">
                  <a:lumMod val="5000"/>
                  <a:lumOff val="95000"/>
                </a:schemeClr>
              </a:gs>
              <a:gs pos="100000">
                <a:schemeClr val="bg1">
                  <a:alpha val="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endParaRPr lang="en-US"/>
          </a:p>
        </p:txBody>
      </p:sp>
      <p:sp>
        <p:nvSpPr>
          <p:cNvPr id="2" name="Text Placeholder 1">
            <a:extLst>
              <a:ext uri="{FF2B5EF4-FFF2-40B4-BE49-F238E27FC236}">
                <a16:creationId xmlns:a16="http://schemas.microsoft.com/office/drawing/2014/main" id="{DDB8F63A-FFC3-6EBE-7F2A-D6FB52736DF1}"/>
              </a:ext>
            </a:extLst>
          </p:cNvPr>
          <p:cNvSpPr txBox="1">
            <a:spLocks/>
          </p:cNvSpPr>
          <p:nvPr/>
        </p:nvSpPr>
        <p:spPr>
          <a:xfrm>
            <a:off x="847660" y="1315711"/>
            <a:ext cx="5390931" cy="616404"/>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rPr lang="en-US"/>
              <a:t>Terminer</a:t>
            </a:r>
            <a:r>
              <a:t> plus </a:t>
            </a:r>
            <a:r>
              <a:rPr err="1"/>
              <a:t>rapidement</a:t>
            </a:r>
            <a:endParaRPr lang="en-US" err="1">
              <a:cs typeface="Calibri Light"/>
            </a:endParaRPr>
          </a:p>
        </p:txBody>
      </p:sp>
      <p:sp>
        <p:nvSpPr>
          <p:cNvPr id="3" name="Rectangle 2">
            <a:extLst>
              <a:ext uri="{FF2B5EF4-FFF2-40B4-BE49-F238E27FC236}">
                <a16:creationId xmlns:a16="http://schemas.microsoft.com/office/drawing/2014/main" id="{82C6AD87-5175-74D0-47FC-6B7724DB7447}"/>
              </a:ext>
            </a:extLst>
          </p:cNvPr>
          <p:cNvSpPr/>
          <p:nvPr/>
        </p:nvSpPr>
        <p:spPr>
          <a:xfrm>
            <a:off x="849207" y="2833546"/>
            <a:ext cx="4624804" cy="1190967"/>
          </a:xfrm>
          <a:prstGeom prst="rect">
            <a:avLst/>
          </a:prstGeom>
        </p:spPr>
        <p:txBody>
          <a:bodyPr wrap="square" lIns="91440" tIns="45720" rIns="91440" bIns="45720" anchor="t">
            <a:spAutoFit/>
          </a:bodyPr>
          <a:lstStyle/>
          <a:p>
            <a:pPr>
              <a:lnSpc>
                <a:spcPct val="110000"/>
              </a:lnSpc>
              <a:defRPr sz="2200"/>
            </a:pPr>
            <a:r>
              <a:t>Les étudiants commencent leur premier cours de certificat seulement </a:t>
            </a:r>
            <a:r>
              <a:rPr b="1"/>
              <a:t>14 semaines </a:t>
            </a:r>
            <a:r>
              <a:t>après le début de leur parcours éducatif.</a:t>
            </a:r>
          </a:p>
        </p:txBody>
      </p:sp>
    </p:spTree>
    <p:extLst>
      <p:ext uri="{BB962C8B-B14F-4D97-AF65-F5344CB8AC3E}">
        <p14:creationId xmlns:p14="http://schemas.microsoft.com/office/powerpoint/2010/main" val="95417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smtClean="0"/>
              <a:t>17</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16" name="Rectangle 15">
            <a:extLst>
              <a:ext uri="{FF2B5EF4-FFF2-40B4-BE49-F238E27FC236}">
                <a16:creationId xmlns:a16="http://schemas.microsoft.com/office/drawing/2014/main" id="{62544AEE-9FDC-214D-8A9F-476D5C29C398}"/>
              </a:ext>
            </a:extLst>
          </p:cNvPr>
          <p:cNvSpPr/>
          <p:nvPr/>
        </p:nvSpPr>
        <p:spPr>
          <a:xfrm>
            <a:off x="0" y="372790"/>
            <a:ext cx="4340506" cy="94705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13" name="Text Placeholder 1">
            <a:extLst>
              <a:ext uri="{FF2B5EF4-FFF2-40B4-BE49-F238E27FC236}">
                <a16:creationId xmlns:a16="http://schemas.microsoft.com/office/drawing/2014/main" id="{E1815725-512E-9048-88FA-51D8CFFF78C2}"/>
              </a:ext>
            </a:extLst>
          </p:cNvPr>
          <p:cNvSpPr txBox="1">
            <a:spLocks/>
          </p:cNvSpPr>
          <p:nvPr/>
        </p:nvSpPr>
        <p:spPr>
          <a:xfrm>
            <a:off x="295928" y="627122"/>
            <a:ext cx="7342776"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800" b="1" spc="90">
                <a:solidFill>
                  <a:schemeClr val="tx2">
                    <a:lumMod val="90000"/>
                    <a:lumOff val="10000"/>
                  </a:schemeClr>
                </a:solidFill>
              </a:defRPr>
            </a:pPr>
            <a:r>
              <a:t>TRANSFERT DE CRÉDITS</a:t>
            </a:r>
            <a:endParaRPr lang="en-US" sz="2400" b="1" spc="90">
              <a:solidFill>
                <a:schemeClr val="tx2">
                  <a:lumMod val="90000"/>
                  <a:lumOff val="10000"/>
                </a:schemeClr>
              </a:solidFill>
            </a:endParaRPr>
          </a:p>
        </p:txBody>
      </p:sp>
      <p:sp>
        <p:nvSpPr>
          <p:cNvPr id="8" name="Rectangle 7">
            <a:extLst>
              <a:ext uri="{FF2B5EF4-FFF2-40B4-BE49-F238E27FC236}">
                <a16:creationId xmlns:a16="http://schemas.microsoft.com/office/drawing/2014/main" id="{C29326BC-4197-FE42-B254-B8E44181828A}"/>
              </a:ext>
            </a:extLst>
          </p:cNvPr>
          <p:cNvSpPr/>
          <p:nvPr/>
        </p:nvSpPr>
        <p:spPr>
          <a:xfrm>
            <a:off x="633913" y="2777079"/>
            <a:ext cx="5462088" cy="2062103"/>
          </a:xfrm>
          <a:prstGeom prst="rect">
            <a:avLst/>
          </a:prstGeom>
        </p:spPr>
        <p:txBody>
          <a:bodyPr wrap="square" lIns="91440" tIns="45720" rIns="91440" bIns="45720" anchor="t">
            <a:spAutoFit/>
          </a:bodyPr>
          <a:lstStyle/>
          <a:p>
            <a:pPr>
              <a:defRPr sz="3200">
                <a:latin typeface="Calibri"/>
                <a:ea typeface="Calibri"/>
                <a:cs typeface="Calibri"/>
              </a:defRPr>
            </a:pPr>
            <a:r>
              <a:rPr dirty="0"/>
              <a:t>BYU-Pathway Worldwide et </a:t>
            </a:r>
            <a:r>
              <a:rPr dirty="0" err="1"/>
              <a:t>ses</a:t>
            </a:r>
            <a:r>
              <a:rPr dirty="0"/>
              <a:t> écoles </a:t>
            </a:r>
            <a:r>
              <a:rPr dirty="0" err="1"/>
              <a:t>partenaires</a:t>
            </a:r>
            <a:r>
              <a:rPr dirty="0"/>
              <a:t> </a:t>
            </a:r>
            <a:r>
              <a:rPr dirty="0" err="1"/>
              <a:t>ont</a:t>
            </a:r>
            <a:r>
              <a:rPr dirty="0"/>
              <a:t> </a:t>
            </a:r>
            <a:r>
              <a:rPr dirty="0" err="1"/>
              <a:t>une</a:t>
            </a:r>
            <a:r>
              <a:rPr dirty="0"/>
              <a:t> politique de</a:t>
            </a:r>
            <a:r>
              <a:rPr dirty="0">
                <a:solidFill>
                  <a:srgbClr val="000000"/>
                </a:solidFill>
              </a:rPr>
              <a:t> </a:t>
            </a:r>
            <a:r>
              <a:rPr b="1" dirty="0" err="1">
                <a:solidFill>
                  <a:srgbClr val="3A929D"/>
                </a:solidFill>
              </a:rPr>
              <a:t>transfert</a:t>
            </a:r>
            <a:r>
              <a:rPr b="1" dirty="0">
                <a:solidFill>
                  <a:srgbClr val="3A929D"/>
                </a:solidFill>
              </a:rPr>
              <a:t> </a:t>
            </a:r>
            <a:r>
              <a:rPr lang="en-US" b="1" dirty="0" err="1">
                <a:solidFill>
                  <a:srgbClr val="3A929D"/>
                </a:solidFill>
              </a:rPr>
              <a:t>d'unités</a:t>
            </a:r>
            <a:r>
              <a:rPr lang="en-US" b="1" dirty="0">
                <a:solidFill>
                  <a:srgbClr val="3A929D"/>
                </a:solidFill>
              </a:rPr>
              <a:t> de valuer </a:t>
            </a:r>
            <a:r>
              <a:rPr lang="en-US" b="1" dirty="0" err="1">
                <a:solidFill>
                  <a:srgbClr val="3A929D"/>
                </a:solidFill>
              </a:rPr>
              <a:t>généreuse</a:t>
            </a:r>
            <a:r>
              <a:rPr dirty="0"/>
              <a:t>.</a:t>
            </a:r>
          </a:p>
        </p:txBody>
      </p:sp>
      <p:pic>
        <p:nvPicPr>
          <p:cNvPr id="7" name="Picture 6" descr="A picture containing text, person, computer, computer  Description automatically generated">
            <a:extLst>
              <a:ext uri="{FF2B5EF4-FFF2-40B4-BE49-F238E27FC236}">
                <a16:creationId xmlns:a16="http://schemas.microsoft.com/office/drawing/2014/main" id="{7E254706-AC2D-5842-8B5B-C55CDE74DF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75353" y="0"/>
            <a:ext cx="5216647" cy="6858000"/>
          </a:xfrm>
          <a:prstGeom prst="rect">
            <a:avLst/>
          </a:prstGeom>
        </p:spPr>
      </p:pic>
      <p:sp>
        <p:nvSpPr>
          <p:cNvPr id="2" name="TextBox 1">
            <a:extLst>
              <a:ext uri="{FF2B5EF4-FFF2-40B4-BE49-F238E27FC236}">
                <a16:creationId xmlns:a16="http://schemas.microsoft.com/office/drawing/2014/main" id="{29993704-1A86-D204-ACD4-3DE44E38FA59}"/>
              </a:ext>
            </a:extLst>
          </p:cNvPr>
          <p:cNvSpPr txBox="1"/>
          <p:nvPr/>
        </p:nvSpPr>
        <p:spPr>
          <a:xfrm>
            <a:off x="529736" y="5950157"/>
            <a:ext cx="5566804" cy="523220"/>
          </a:xfrm>
          <a:prstGeom prst="rect">
            <a:avLst/>
          </a:prstGeom>
          <a:noFill/>
        </p:spPr>
        <p:txBody>
          <a:bodyPr wrap="square" lIns="91440" tIns="45720" rIns="91440" bIns="45720" anchor="t">
            <a:spAutoFit/>
          </a:bodyPr>
          <a:lstStyle/>
          <a:p>
            <a:pPr marL="120650" indent="-109220">
              <a:defRPr sz="1400"/>
            </a:pPr>
            <a:r>
              <a:rPr dirty="0"/>
              <a:t>*Les </a:t>
            </a:r>
            <a:r>
              <a:rPr lang="en-US" dirty="0"/>
              <a:t>UV</a:t>
            </a:r>
            <a:r>
              <a:rPr dirty="0"/>
              <a:t> de </a:t>
            </a:r>
            <a:r>
              <a:rPr dirty="0" err="1"/>
              <a:t>transfert</a:t>
            </a:r>
            <a:r>
              <a:rPr dirty="0"/>
              <a:t> </a:t>
            </a:r>
            <a:r>
              <a:rPr dirty="0" err="1"/>
              <a:t>varieront</a:t>
            </a:r>
            <a:r>
              <a:rPr dirty="0"/>
              <a:t> </a:t>
            </a:r>
            <a:r>
              <a:rPr dirty="0" err="1"/>
              <a:t>en</a:t>
            </a:r>
            <a:r>
              <a:rPr dirty="0"/>
              <a:t> </a:t>
            </a:r>
            <a:r>
              <a:rPr dirty="0" err="1"/>
              <a:t>fonction</a:t>
            </a:r>
            <a:r>
              <a:rPr dirty="0"/>
              <a:t> de </a:t>
            </a:r>
            <a:r>
              <a:rPr dirty="0" err="1"/>
              <a:t>l’endroit</a:t>
            </a:r>
            <a:r>
              <a:rPr dirty="0"/>
              <a:t> </a:t>
            </a:r>
            <a:r>
              <a:rPr dirty="0" err="1"/>
              <a:t>ou</a:t>
            </a:r>
            <a:r>
              <a:rPr dirty="0"/>
              <a:t> de </a:t>
            </a:r>
            <a:r>
              <a:rPr dirty="0" err="1"/>
              <a:t>l’université</a:t>
            </a:r>
            <a:r>
              <a:rPr dirty="0"/>
              <a:t> </a:t>
            </a:r>
            <a:r>
              <a:rPr dirty="0" err="1"/>
              <a:t>où</a:t>
            </a:r>
            <a:r>
              <a:rPr dirty="0"/>
              <a:t> les </a:t>
            </a:r>
            <a:r>
              <a:rPr dirty="0" err="1"/>
              <a:t>cours</a:t>
            </a:r>
            <a:r>
              <a:rPr dirty="0"/>
              <a:t> </a:t>
            </a:r>
            <a:r>
              <a:rPr dirty="0" err="1"/>
              <a:t>ont</a:t>
            </a:r>
            <a:r>
              <a:rPr dirty="0"/>
              <a:t> </a:t>
            </a:r>
            <a:r>
              <a:rPr dirty="0" err="1"/>
              <a:t>été</a:t>
            </a:r>
            <a:r>
              <a:rPr dirty="0"/>
              <a:t> </a:t>
            </a:r>
            <a:r>
              <a:rPr dirty="0" err="1"/>
              <a:t>suivis</a:t>
            </a:r>
            <a:r>
              <a:rPr dirty="0"/>
              <a:t>.</a:t>
            </a:r>
            <a:endParaRPr lang="en-US" dirty="0"/>
          </a:p>
        </p:txBody>
      </p:sp>
    </p:spTree>
    <p:extLst>
      <p:ext uri="{BB962C8B-B14F-4D97-AF65-F5344CB8AC3E}">
        <p14:creationId xmlns:p14="http://schemas.microsoft.com/office/powerpoint/2010/main" val="299988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348136" y="4509980"/>
            <a:ext cx="6207125" cy="962488"/>
          </a:xfrm>
        </p:spPr>
        <p:txBody>
          <a:bodyPr vert="horz" lIns="91440" tIns="45720" rIns="91440" bIns="45720" anchor="t">
            <a:normAutofit/>
          </a:bodyPr>
          <a:lstStyle/>
          <a:p>
            <a:pPr marL="4445">
              <a:defRPr sz="2000">
                <a:ea typeface="+mj-lt"/>
                <a:cs typeface="+mj-lt"/>
              </a:defRPr>
            </a:pPr>
            <a:r>
              <a:t>EDNA MAFAVUKE</a:t>
            </a:r>
          </a:p>
          <a:p>
            <a:pPr marL="4445">
              <a:defRPr i="1">
                <a:ea typeface="+mj-lt"/>
                <a:cs typeface="+mj-lt"/>
              </a:defRPr>
            </a:pPr>
            <a:r>
              <a:t>Zimbabwe</a:t>
            </a:r>
            <a:endParaRPr lang="en-US" i="1">
              <a:cs typeface="Calibri Light"/>
            </a:endParaRPr>
          </a:p>
          <a:p>
            <a:pPr marL="4445"/>
            <a:endParaRPr lang="en-US" i="1">
              <a:cs typeface="Calibri Light"/>
            </a:endParaRPr>
          </a:p>
          <a:p>
            <a:pPr marL="4445"/>
            <a:endParaRPr lang="en-US">
              <a:cs typeface="Calibri Light" panose="020F0302020204030204"/>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smtClean="0"/>
              <a:t>18</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7" name="Picture 9">
            <a:extLst>
              <a:ext uri="{FF2B5EF4-FFF2-40B4-BE49-F238E27FC236}">
                <a16:creationId xmlns:a16="http://schemas.microsoft.com/office/drawing/2014/main" id="{4B46ABE5-E8A2-CE87-5FB0-C52538C969DA}"/>
              </a:ext>
            </a:extLst>
          </p:cNvPr>
          <p:cNvPicPr>
            <a:picLocks noChangeAspect="1"/>
          </p:cNvPicPr>
          <p:nvPr/>
        </p:nvPicPr>
        <p:blipFill rotWithShape="1">
          <a:blip r:embed="rId4"/>
          <a:srcRect t="1327" r="-238" b="233"/>
          <a:stretch/>
        </p:blipFill>
        <p:spPr>
          <a:xfrm>
            <a:off x="1167004" y="1666456"/>
            <a:ext cx="3538708" cy="3533729"/>
          </a:xfrm>
          <a:prstGeom prst="rect">
            <a:avLst/>
          </a:prstGeom>
        </p:spPr>
      </p:pic>
      <p:sp>
        <p:nvSpPr>
          <p:cNvPr id="6" name="TextBox 5">
            <a:extLst>
              <a:ext uri="{FF2B5EF4-FFF2-40B4-BE49-F238E27FC236}">
                <a16:creationId xmlns:a16="http://schemas.microsoft.com/office/drawing/2014/main" id="{EA940E73-F53B-77D0-FDC1-FA51DF406EF8}"/>
              </a:ext>
            </a:extLst>
          </p:cNvPr>
          <p:cNvSpPr txBox="1"/>
          <p:nvPr/>
        </p:nvSpPr>
        <p:spPr>
          <a:xfrm>
            <a:off x="5173233" y="2048400"/>
            <a:ext cx="5583584" cy="2246769"/>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defRPr>
            </a:pPr>
            <a:r>
              <a:rPr>
                <a:ea typeface="+mn-lt"/>
                <a:cs typeface="+mn-lt"/>
              </a:rPr>
              <a:t>« </a:t>
            </a:r>
            <a:r>
              <a:rPr>
                <a:latin typeface="Calibri Light"/>
                <a:ea typeface="Roboto Slab Thin"/>
                <a:cs typeface="Roboto Slab Thin"/>
              </a:rPr>
              <a:t>Grâce à la bourse Heber J. Grant, BYU-Pathway est entré dans ma vie comme un rêve devenu réalité, et je suis raffiné pour être la personne que le Seigneur veut que je sois.</a:t>
            </a:r>
            <a:r>
              <a:rPr>
                <a:ea typeface="+mn-lt"/>
                <a:cs typeface="+mn-lt"/>
              </a:rPr>
              <a:t> »</a:t>
            </a:r>
            <a:endParaRPr lang="en-US" sz="2800">
              <a:solidFill>
                <a:srgbClr val="58595B"/>
              </a:solidFill>
              <a:latin typeface="Roboto Slab Thin"/>
              <a:ea typeface="Roboto Slab Thin"/>
              <a:cs typeface="Roboto Slab Thin"/>
            </a:endParaRPr>
          </a:p>
        </p:txBody>
      </p:sp>
    </p:spTree>
    <p:extLst>
      <p:ext uri="{BB962C8B-B14F-4D97-AF65-F5344CB8AC3E}">
        <p14:creationId xmlns:p14="http://schemas.microsoft.com/office/powerpoint/2010/main" val="39737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A3A9F34-98D4-9547-B942-3279C8707609}"/>
              </a:ext>
            </a:extLst>
          </p:cNvPr>
          <p:cNvSpPr/>
          <p:nvPr/>
        </p:nvSpPr>
        <p:spPr>
          <a:xfrm>
            <a:off x="4985657" y="0"/>
            <a:ext cx="2220686" cy="1854926"/>
          </a:xfrm>
          <a:prstGeom prst="rect">
            <a:avLst/>
          </a:prstGeom>
          <a:solidFill>
            <a:srgbClr val="F9C60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26" name="Slide Number Placeholder 3">
            <a:extLst>
              <a:ext uri="{FF2B5EF4-FFF2-40B4-BE49-F238E27FC236}">
                <a16:creationId xmlns:a16="http://schemas.microsoft.com/office/drawing/2014/main" id="{EA71D5DF-E7DC-3741-8D95-947602EF5B8B}"/>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1</a:t>
            </a:fld>
            <a:endParaRPr lang="en-US"/>
          </a:p>
        </p:txBody>
      </p:sp>
      <p:sp>
        <p:nvSpPr>
          <p:cNvPr id="20" name="Content Placeholder 2">
            <a:extLst>
              <a:ext uri="{FF2B5EF4-FFF2-40B4-BE49-F238E27FC236}">
                <a16:creationId xmlns:a16="http://schemas.microsoft.com/office/drawing/2014/main" id="{16521770-80B6-B447-80F3-E433B45DFE28}"/>
              </a:ext>
            </a:extLst>
          </p:cNvPr>
          <p:cNvSpPr txBox="1">
            <a:spLocks/>
          </p:cNvSpPr>
          <p:nvPr/>
        </p:nvSpPr>
        <p:spPr>
          <a:xfrm>
            <a:off x="1514338" y="2212337"/>
            <a:ext cx="9028113" cy="1385940"/>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20000"/>
              </a:lnSpc>
              <a:buNone/>
              <a:defRPr sz="2400"/>
            </a:pPr>
            <a:r>
              <a:t>En association avec BYU-Idaho et Ensign College, BYU-Pathway Worldwide </a:t>
            </a:r>
            <a:r>
              <a:rPr lang="en-US" err="1"/>
              <a:t>offre</a:t>
            </a:r>
            <a:r>
              <a:rPr lang="en-US"/>
              <a:t> </a:t>
            </a:r>
            <a:r>
              <a:rPr lang="en-US" err="1"/>
              <a:t>l'accès</a:t>
            </a:r>
            <a:r>
              <a:t> à </a:t>
            </a:r>
            <a:r>
              <a:rPr b="1">
                <a:solidFill>
                  <a:srgbClr val="3A929D"/>
                </a:solidFill>
                <a:latin typeface="Calibri"/>
                <a:cs typeface="Calibri"/>
              </a:rPr>
              <a:t>des </a:t>
            </a:r>
            <a:r>
              <a:rPr lang="en-US" b="1" err="1">
                <a:solidFill>
                  <a:srgbClr val="3A929D"/>
                </a:solidFill>
                <a:latin typeface="Calibri"/>
                <a:cs typeface="Calibri"/>
              </a:rPr>
              <a:t>diplômes</a:t>
            </a:r>
            <a:r>
              <a:rPr b="1">
                <a:solidFill>
                  <a:srgbClr val="3A929D"/>
                </a:solidFill>
                <a:latin typeface="Calibri"/>
                <a:cs typeface="Calibri"/>
              </a:rPr>
              <a:t> </a:t>
            </a:r>
            <a:r>
              <a:rPr lang="en-US" b="1" err="1">
                <a:solidFill>
                  <a:srgbClr val="3A929D"/>
                </a:solidFill>
                <a:latin typeface="Calibri"/>
                <a:cs typeface="Calibri"/>
              </a:rPr>
              <a:t>spirituels</a:t>
            </a:r>
            <a:r>
              <a:t>, </a:t>
            </a:r>
            <a:br>
              <a:rPr lang="en-US" sz="2400"/>
            </a:br>
            <a:r>
              <a:rPr lang="en-US" err="1"/>
              <a:t>entièrement</a:t>
            </a:r>
            <a:r>
              <a:t> </a:t>
            </a:r>
            <a:r>
              <a:rPr lang="en-US" b="1" err="1">
                <a:solidFill>
                  <a:srgbClr val="3A929D"/>
                </a:solidFill>
              </a:rPr>
              <a:t>en</a:t>
            </a:r>
            <a:r>
              <a:rPr b="1">
                <a:solidFill>
                  <a:srgbClr val="3A929D"/>
                </a:solidFill>
              </a:rPr>
              <a:t> </a:t>
            </a:r>
            <a:r>
              <a:rPr lang="en-US" b="1" err="1">
                <a:solidFill>
                  <a:srgbClr val="3A929D"/>
                </a:solidFill>
              </a:rPr>
              <a:t>ligne</a:t>
            </a:r>
            <a:r>
              <a:t> et à un </a:t>
            </a:r>
            <a:r>
              <a:rPr lang="en-US" b="1" err="1">
                <a:solidFill>
                  <a:srgbClr val="3A929D"/>
                </a:solidFill>
              </a:rPr>
              <a:t>coût</a:t>
            </a:r>
            <a:r>
              <a:rPr b="1">
                <a:solidFill>
                  <a:srgbClr val="3A929D"/>
                </a:solidFill>
              </a:rPr>
              <a:t> </a:t>
            </a:r>
            <a:r>
              <a:rPr lang="en-US" b="1" err="1">
                <a:solidFill>
                  <a:srgbClr val="3A929D"/>
                </a:solidFill>
              </a:rPr>
              <a:t>considérablement</a:t>
            </a:r>
            <a:r>
              <a:rPr b="1">
                <a:solidFill>
                  <a:srgbClr val="3A929D"/>
                </a:solidFill>
              </a:rPr>
              <a:t> </a:t>
            </a:r>
            <a:r>
              <a:rPr lang="en-US" b="1" err="1">
                <a:solidFill>
                  <a:srgbClr val="3A929D"/>
                </a:solidFill>
              </a:rPr>
              <a:t>réduit</a:t>
            </a:r>
            <a:r>
              <a:t>.</a:t>
            </a:r>
          </a:p>
        </p:txBody>
      </p:sp>
      <p:pic>
        <p:nvPicPr>
          <p:cNvPr id="21" name="Graphic 20">
            <a:extLst>
              <a:ext uri="{FF2B5EF4-FFF2-40B4-BE49-F238E27FC236}">
                <a16:creationId xmlns:a16="http://schemas.microsoft.com/office/drawing/2014/main" id="{1135A166-E620-744D-8B95-14B1A91638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54372" y="3641819"/>
            <a:ext cx="2057400" cy="2057400"/>
          </a:xfrm>
          <a:prstGeom prst="rect">
            <a:avLst/>
          </a:prstGeom>
        </p:spPr>
      </p:pic>
      <p:pic>
        <p:nvPicPr>
          <p:cNvPr id="22" name="Graphic 21">
            <a:extLst>
              <a:ext uri="{FF2B5EF4-FFF2-40B4-BE49-F238E27FC236}">
                <a16:creationId xmlns:a16="http://schemas.microsoft.com/office/drawing/2014/main" id="{E1F72854-B4F8-D243-A1D4-EF3F57A27E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86116" y="3867596"/>
            <a:ext cx="1524000" cy="1524000"/>
          </a:xfrm>
          <a:prstGeom prst="rect">
            <a:avLst/>
          </a:prstGeom>
        </p:spPr>
      </p:pic>
      <p:pic>
        <p:nvPicPr>
          <p:cNvPr id="25" name="Graphic 24">
            <a:extLst>
              <a:ext uri="{FF2B5EF4-FFF2-40B4-BE49-F238E27FC236}">
                <a16:creationId xmlns:a16="http://schemas.microsoft.com/office/drawing/2014/main" id="{8FD51A72-311F-3245-BFC1-5F5CAA82AE1A}"/>
              </a:ext>
            </a:extLst>
          </p:cNvPr>
          <p:cNvPicPr>
            <a:picLocks noChangeAspect="1"/>
          </p:cNvPicPr>
          <p:nvPr/>
        </p:nvPicPr>
        <p:blipFill>
          <a:blip r:embed="rId7"/>
          <a:srcRect/>
          <a:stretch/>
        </p:blipFill>
        <p:spPr>
          <a:xfrm>
            <a:off x="2243328" y="3822368"/>
            <a:ext cx="1524000" cy="1524000"/>
          </a:xfrm>
          <a:prstGeom prst="rect">
            <a:avLst/>
          </a:prstGeom>
        </p:spPr>
      </p:pic>
      <p:sp>
        <p:nvSpPr>
          <p:cNvPr id="27" name="TextBox 26">
            <a:extLst>
              <a:ext uri="{FF2B5EF4-FFF2-40B4-BE49-F238E27FC236}">
                <a16:creationId xmlns:a16="http://schemas.microsoft.com/office/drawing/2014/main" id="{061D94E2-836E-EE4F-AC2E-903DE5C55B97}"/>
              </a:ext>
            </a:extLst>
          </p:cNvPr>
          <p:cNvSpPr txBox="1"/>
          <p:nvPr/>
        </p:nvSpPr>
        <p:spPr>
          <a:xfrm>
            <a:off x="8278872" y="5367004"/>
            <a:ext cx="1738489" cy="584775"/>
          </a:xfrm>
          <a:prstGeom prst="rect">
            <a:avLst/>
          </a:prstGeom>
          <a:noFill/>
        </p:spPr>
        <p:txBody>
          <a:bodyPr wrap="square">
            <a:spAutoFit/>
          </a:bodyPr>
          <a:lstStyle/>
          <a:p>
            <a:pPr algn="ctr">
              <a:defRPr sz="3200" b="1">
                <a:solidFill>
                  <a:schemeClr val="accent6">
                    <a:lumMod val="75000"/>
                    <a:lumOff val="25000"/>
                  </a:schemeClr>
                </a:solidFill>
              </a:defRPr>
            </a:pPr>
            <a:r>
              <a:t>Faible coût</a:t>
            </a:r>
          </a:p>
        </p:txBody>
      </p:sp>
      <p:sp>
        <p:nvSpPr>
          <p:cNvPr id="28" name="TextBox 27">
            <a:extLst>
              <a:ext uri="{FF2B5EF4-FFF2-40B4-BE49-F238E27FC236}">
                <a16:creationId xmlns:a16="http://schemas.microsoft.com/office/drawing/2014/main" id="{2DF252B8-74CF-F44D-9C66-D414C0B370E9}"/>
              </a:ext>
            </a:extLst>
          </p:cNvPr>
          <p:cNvSpPr txBox="1"/>
          <p:nvPr/>
        </p:nvSpPr>
        <p:spPr>
          <a:xfrm>
            <a:off x="5222649" y="5374523"/>
            <a:ext cx="1738489" cy="584775"/>
          </a:xfrm>
          <a:prstGeom prst="rect">
            <a:avLst/>
          </a:prstGeom>
          <a:noFill/>
        </p:spPr>
        <p:txBody>
          <a:bodyPr wrap="square">
            <a:spAutoFit/>
          </a:bodyPr>
          <a:lstStyle/>
          <a:p>
            <a:pPr algn="ctr">
              <a:defRPr sz="3200" b="1">
                <a:solidFill>
                  <a:schemeClr val="accent6">
                    <a:lumMod val="75000"/>
                    <a:lumOff val="25000"/>
                  </a:schemeClr>
                </a:solidFill>
              </a:defRPr>
            </a:pPr>
            <a:r>
              <a:t>En ligne</a:t>
            </a:r>
          </a:p>
        </p:txBody>
      </p:sp>
      <p:sp>
        <p:nvSpPr>
          <p:cNvPr id="29" name="TextBox 28">
            <a:extLst>
              <a:ext uri="{FF2B5EF4-FFF2-40B4-BE49-F238E27FC236}">
                <a16:creationId xmlns:a16="http://schemas.microsoft.com/office/drawing/2014/main" id="{CED74288-F993-2A4C-A717-1C6A7F535098}"/>
              </a:ext>
            </a:extLst>
          </p:cNvPr>
          <p:cNvSpPr txBox="1"/>
          <p:nvPr/>
        </p:nvSpPr>
        <p:spPr>
          <a:xfrm>
            <a:off x="2148783" y="5374523"/>
            <a:ext cx="1738489" cy="584775"/>
          </a:xfrm>
          <a:prstGeom prst="rect">
            <a:avLst/>
          </a:prstGeom>
          <a:noFill/>
        </p:spPr>
        <p:txBody>
          <a:bodyPr wrap="square">
            <a:spAutoFit/>
          </a:bodyPr>
          <a:lstStyle/>
          <a:p>
            <a:pPr algn="ctr">
              <a:defRPr sz="3200" b="1">
                <a:solidFill>
                  <a:schemeClr val="accent6">
                    <a:lumMod val="75000"/>
                    <a:lumOff val="25000"/>
                  </a:schemeClr>
                </a:solidFill>
              </a:defRPr>
            </a:pPr>
            <a:r>
              <a:t>Spirituel</a:t>
            </a:r>
          </a:p>
        </p:txBody>
      </p:sp>
      <p:pic>
        <p:nvPicPr>
          <p:cNvPr id="3" name="Picture 2" descr="Text  Description automatically generated">
            <a:extLst>
              <a:ext uri="{FF2B5EF4-FFF2-40B4-BE49-F238E27FC236}">
                <a16:creationId xmlns:a16="http://schemas.microsoft.com/office/drawing/2014/main" id="{071D2044-38DA-5DE0-1402-D82CA813D637}"/>
              </a:ext>
            </a:extLst>
          </p:cNvPr>
          <p:cNvPicPr>
            <a:picLocks noChangeAspect="1"/>
          </p:cNvPicPr>
          <p:nvPr/>
        </p:nvPicPr>
        <p:blipFill>
          <a:blip r:embed="rId8"/>
          <a:stretch>
            <a:fillRect/>
          </a:stretch>
        </p:blipFill>
        <p:spPr>
          <a:xfrm>
            <a:off x="5222649" y="379389"/>
            <a:ext cx="1743270" cy="1096147"/>
          </a:xfrm>
          <a:prstGeom prst="rect">
            <a:avLst/>
          </a:prstGeom>
        </p:spPr>
      </p:pic>
    </p:spTree>
    <p:extLst>
      <p:ext uri="{BB962C8B-B14F-4D97-AF65-F5344CB8AC3E}">
        <p14:creationId xmlns:p14="http://schemas.microsoft.com/office/powerpoint/2010/main" val="144466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428542" y="4630591"/>
            <a:ext cx="6207125" cy="962488"/>
          </a:xfrm>
        </p:spPr>
        <p:txBody>
          <a:bodyPr vert="horz" lIns="91440" tIns="45720" rIns="91440" bIns="45720" anchor="t">
            <a:normAutofit/>
          </a:bodyPr>
          <a:lstStyle/>
          <a:p>
            <a:pPr marL="4445">
              <a:defRPr sz="2000">
                <a:solidFill>
                  <a:srgbClr val="656365"/>
                </a:solidFill>
                <a:ea typeface="+mj-lt"/>
                <a:cs typeface="+mj-lt"/>
              </a:defRPr>
            </a:pPr>
            <a:r>
              <a:t>STEVEN MORRISSEY</a:t>
            </a:r>
          </a:p>
          <a:p>
            <a:pPr marL="4445">
              <a:defRPr i="1">
                <a:solidFill>
                  <a:srgbClr val="656365"/>
                </a:solidFill>
                <a:ea typeface="+mj-lt"/>
                <a:cs typeface="+mj-lt"/>
              </a:defRPr>
            </a:pPr>
            <a:r>
              <a:t>ÉTATS-UNIS</a:t>
            </a:r>
            <a:endParaRPr lang="en-US" i="1">
              <a:cs typeface="Calibri Light"/>
            </a:endParaRPr>
          </a:p>
          <a:p>
            <a:pPr marL="4445"/>
            <a:endParaRPr lang="en-US" i="1">
              <a:cs typeface="Calibri Light"/>
            </a:endParaRPr>
          </a:p>
          <a:p>
            <a:pPr marL="4445"/>
            <a:endParaRPr lang="en-US">
              <a:cs typeface="Calibri Light" panose="020F0302020204030204"/>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smtClean="0"/>
              <a:t>19</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7" name="TextBox 6">
            <a:extLst>
              <a:ext uri="{FF2B5EF4-FFF2-40B4-BE49-F238E27FC236}">
                <a16:creationId xmlns:a16="http://schemas.microsoft.com/office/drawing/2014/main" id="{84DCE381-A32C-6D8A-E72B-2D79BB72329D}"/>
              </a:ext>
            </a:extLst>
          </p:cNvPr>
          <p:cNvSpPr txBox="1"/>
          <p:nvPr/>
        </p:nvSpPr>
        <p:spPr>
          <a:xfrm>
            <a:off x="5288977" y="2071564"/>
            <a:ext cx="6493106" cy="2246769"/>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 Cette bourse </a:t>
            </a:r>
            <a:r>
              <a:rPr err="1"/>
              <a:t>peut</a:t>
            </a:r>
            <a:r>
              <a:t> </a:t>
            </a:r>
            <a:r>
              <a:rPr err="1"/>
              <a:t>sembler</a:t>
            </a:r>
            <a:r>
              <a:t> ne profiter </a:t>
            </a:r>
            <a:r>
              <a:rPr err="1"/>
              <a:t>qu’à</a:t>
            </a:r>
            <a:r>
              <a:t> </a:t>
            </a:r>
            <a:r>
              <a:rPr err="1"/>
              <a:t>moi</a:t>
            </a:r>
            <a:r>
              <a:t>, </a:t>
            </a:r>
            <a:r>
              <a:rPr err="1"/>
              <a:t>mais</a:t>
            </a:r>
            <a:r>
              <a:t> </a:t>
            </a:r>
            <a:r>
              <a:rPr err="1"/>
              <a:t>elle</a:t>
            </a:r>
            <a:r>
              <a:t> </a:t>
            </a:r>
            <a:r>
              <a:rPr err="1"/>
              <a:t>profite</a:t>
            </a:r>
            <a:r>
              <a:t> à </a:t>
            </a:r>
            <a:r>
              <a:rPr err="1"/>
              <a:t>toute</a:t>
            </a:r>
            <a:r>
              <a:t> ma </a:t>
            </a:r>
            <a:r>
              <a:rPr err="1"/>
              <a:t>famille</a:t>
            </a:r>
            <a:r>
              <a:t>. </a:t>
            </a:r>
            <a:r>
              <a:rPr err="1"/>
              <a:t>Recevoir</a:t>
            </a:r>
            <a:r>
              <a:t> </a:t>
            </a:r>
            <a:r>
              <a:rPr err="1"/>
              <a:t>mon</a:t>
            </a:r>
            <a:r>
              <a:t> </a:t>
            </a:r>
            <a:r>
              <a:rPr err="1"/>
              <a:t>éducation</a:t>
            </a:r>
            <a:r>
              <a:t> </a:t>
            </a:r>
            <a:r>
              <a:rPr err="1"/>
              <a:t>permet</a:t>
            </a:r>
            <a:r>
              <a:t> à </a:t>
            </a:r>
            <a:r>
              <a:rPr err="1"/>
              <a:t>mes</a:t>
            </a:r>
            <a:r>
              <a:t> enfants </a:t>
            </a:r>
            <a:r>
              <a:rPr err="1"/>
              <a:t>d’avoir</a:t>
            </a:r>
            <a:r>
              <a:t> plus </a:t>
            </a:r>
            <a:r>
              <a:rPr err="1"/>
              <a:t>d’opportunités</a:t>
            </a:r>
            <a:r>
              <a:t>. Je ne </a:t>
            </a:r>
            <a:r>
              <a:rPr err="1"/>
              <a:t>pourrais</a:t>
            </a:r>
            <a:r>
              <a:t> jamais dire</a:t>
            </a:r>
            <a:r>
              <a:rPr lang="en-US"/>
              <a:t> </a:t>
            </a:r>
            <a:r>
              <a:t>merci</a:t>
            </a:r>
            <a:r>
              <a:rPr lang="en-US"/>
              <a:t> </a:t>
            </a:r>
            <a:r>
              <a:rPr lang="en-US" err="1"/>
              <a:t>assez</a:t>
            </a:r>
            <a:r>
              <a:t>.</a:t>
            </a:r>
            <a:endParaRPr lang="en-US">
              <a:latin typeface="Calibri Light"/>
              <a:cs typeface="Calibri" panose="020F0502020204030204"/>
            </a:endParaRPr>
          </a:p>
        </p:txBody>
      </p:sp>
      <p:pic>
        <p:nvPicPr>
          <p:cNvPr id="3" name="Picture 9">
            <a:extLst>
              <a:ext uri="{FF2B5EF4-FFF2-40B4-BE49-F238E27FC236}">
                <a16:creationId xmlns:a16="http://schemas.microsoft.com/office/drawing/2014/main" id="{B826741E-9EB6-2B8C-6701-BD65A24516EE}"/>
              </a:ext>
            </a:extLst>
          </p:cNvPr>
          <p:cNvPicPr>
            <a:picLocks noChangeAspect="1"/>
          </p:cNvPicPr>
          <p:nvPr/>
        </p:nvPicPr>
        <p:blipFill>
          <a:blip r:embed="rId4"/>
          <a:stretch>
            <a:fillRect/>
          </a:stretch>
        </p:blipFill>
        <p:spPr>
          <a:xfrm>
            <a:off x="734400" y="1597829"/>
            <a:ext cx="3865200" cy="3974341"/>
          </a:xfrm>
          <a:prstGeom prst="rect">
            <a:avLst/>
          </a:prstGeom>
        </p:spPr>
      </p:pic>
    </p:spTree>
    <p:extLst>
      <p:ext uri="{BB962C8B-B14F-4D97-AF65-F5344CB8AC3E}">
        <p14:creationId xmlns:p14="http://schemas.microsoft.com/office/powerpoint/2010/main" val="271686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1" descr="A picture containing commencement, academic costume, graduation, person  Description automatically generated">
            <a:extLst>
              <a:ext uri="{FF2B5EF4-FFF2-40B4-BE49-F238E27FC236}">
                <a16:creationId xmlns:a16="http://schemas.microsoft.com/office/drawing/2014/main" id="{22D7E746-F8D4-1C77-BAFF-C9D0C760BEC5}"/>
              </a:ext>
            </a:extLst>
          </p:cNvPr>
          <p:cNvPicPr>
            <a:picLocks noChangeAspect="1"/>
          </p:cNvPicPr>
          <p:nvPr/>
        </p:nvPicPr>
        <p:blipFill rotWithShape="1">
          <a:blip r:embed="rId4"/>
          <a:srcRect l="-250" t="17893" r="7167" b="13835"/>
          <a:stretch/>
        </p:blipFill>
        <p:spPr>
          <a:xfrm>
            <a:off x="-44603" y="-39523"/>
            <a:ext cx="12304308" cy="6073972"/>
          </a:xfrm>
          <a:prstGeom prst="rect">
            <a:avLst/>
          </a:prstGeom>
        </p:spPr>
      </p:pic>
      <p:sp>
        <p:nvSpPr>
          <p:cNvPr id="18" name="Rectangle 17">
            <a:extLst>
              <a:ext uri="{FF2B5EF4-FFF2-40B4-BE49-F238E27FC236}">
                <a16:creationId xmlns:a16="http://schemas.microsoft.com/office/drawing/2014/main" id="{FA3A9F34-98D4-9547-B942-3279C8707609}"/>
              </a:ext>
            </a:extLst>
          </p:cNvPr>
          <p:cNvSpPr/>
          <p:nvPr/>
        </p:nvSpPr>
        <p:spPr>
          <a:xfrm>
            <a:off x="-20601" y="5772902"/>
            <a:ext cx="12290555" cy="1119572"/>
          </a:xfrm>
          <a:prstGeom prst="rect">
            <a:avLst/>
          </a:prstGeom>
          <a:solidFill>
            <a:srgbClr val="4545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6" name="Text Placeholder 2">
            <a:extLst>
              <a:ext uri="{FF2B5EF4-FFF2-40B4-BE49-F238E27FC236}">
                <a16:creationId xmlns:a16="http://schemas.microsoft.com/office/drawing/2014/main" id="{03DB7BEA-64A9-8BC2-B0AF-DFD61C001233}"/>
              </a:ext>
            </a:extLst>
          </p:cNvPr>
          <p:cNvSpPr txBox="1">
            <a:spLocks/>
          </p:cNvSpPr>
          <p:nvPr/>
        </p:nvSpPr>
        <p:spPr>
          <a:xfrm>
            <a:off x="1061898" y="5970140"/>
            <a:ext cx="9844087" cy="91117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Open Sans" pitchFamily="2" charset="0"/>
                <a:cs typeface="Open Sans"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Open Sans" pitchFamily="2" charset="0"/>
                <a:cs typeface="Open Sans"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Open Sans" pitchFamily="2" charset="0"/>
                <a:cs typeface="Open Sans"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Open Sans" pitchFamily="2" charset="0"/>
                <a:cs typeface="Open Sans"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Open Sans" pitchFamily="2" charset="0"/>
                <a:cs typeface="Open Sans"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defRPr sz="4800">
                <a:solidFill>
                  <a:schemeClr val="bg1"/>
                </a:solidFill>
                <a:latin typeface="Roboto Slab Light"/>
                <a:ea typeface="Roboto Slab Light"/>
                <a:cs typeface="Open Sans"/>
              </a:defRPr>
            </a:pPr>
            <a:r>
              <a:rPr lang="en-US" sz="4600" err="1"/>
              <a:t>Trouver</a:t>
            </a:r>
            <a:r>
              <a:rPr sz="4600"/>
              <a:t> </a:t>
            </a:r>
            <a:r>
              <a:rPr sz="4600" err="1"/>
              <a:t>une</a:t>
            </a:r>
            <a:r>
              <a:rPr sz="4600"/>
              <a:t> </a:t>
            </a:r>
            <a:r>
              <a:rPr sz="4600" err="1"/>
              <a:t>voie</a:t>
            </a:r>
            <a:r>
              <a:rPr sz="4600"/>
              <a:t> à </a:t>
            </a:r>
            <a:r>
              <a:rPr sz="4600" err="1"/>
              <a:t>suivre</a:t>
            </a:r>
            <a:endParaRPr lang="en-US" sz="4600">
              <a:solidFill>
                <a:schemeClr val="bg1"/>
              </a:solidFill>
              <a:latin typeface="Roboto Slab Light"/>
            </a:endParaRPr>
          </a:p>
        </p:txBody>
      </p:sp>
      <p:sp>
        <p:nvSpPr>
          <p:cNvPr id="7" name="Rectangle 6">
            <a:extLst>
              <a:ext uri="{FF2B5EF4-FFF2-40B4-BE49-F238E27FC236}">
                <a16:creationId xmlns:a16="http://schemas.microsoft.com/office/drawing/2014/main" id="{3D54DC1D-795B-CFD9-404F-0F73FCE19CC1}"/>
              </a:ext>
            </a:extLst>
          </p:cNvPr>
          <p:cNvSpPr/>
          <p:nvPr/>
        </p:nvSpPr>
        <p:spPr>
          <a:xfrm>
            <a:off x="371973" y="5286133"/>
            <a:ext cx="1598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4" name="Graphic 6">
            <a:extLst>
              <a:ext uri="{FF2B5EF4-FFF2-40B4-BE49-F238E27FC236}">
                <a16:creationId xmlns:a16="http://schemas.microsoft.com/office/drawing/2014/main" id="{00116DBE-508C-B3C7-FB0C-B5908D6D3A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2466" y="5311519"/>
            <a:ext cx="1348800" cy="1366800"/>
          </a:xfrm>
          <a:prstGeom prst="rect">
            <a:avLst/>
          </a:prstGeom>
        </p:spPr>
      </p:pic>
    </p:spTree>
    <p:extLst>
      <p:ext uri="{BB962C8B-B14F-4D97-AF65-F5344CB8AC3E}">
        <p14:creationId xmlns:p14="http://schemas.microsoft.com/office/powerpoint/2010/main" val="78796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2BCF8038-2EBE-8449-8098-DA5993145292}"/>
              </a:ext>
            </a:extLst>
          </p:cNvPr>
          <p:cNvPicPr>
            <a:picLocks noGrp="1" noChangeAspect="1"/>
          </p:cNvPicPr>
          <p:nvPr>
            <p:ph type="pic" idx="1"/>
          </p:nvPr>
        </p:nvPicPr>
        <p:blipFill>
          <a:blip r:embed="rId3" cstate="email">
            <a:extLst>
              <a:ext uri="{28A0092B-C50C-407E-A947-70E740481C1C}">
                <a14:useLocalDpi xmlns:a14="http://schemas.microsoft.com/office/drawing/2010/main"/>
              </a:ext>
            </a:extLst>
          </a:blip>
          <a:srcRect/>
          <a:stretch>
            <a:fillRect/>
          </a:stretch>
        </p:blipFill>
        <p:spPr>
          <a:xfrm>
            <a:off x="949407" y="963936"/>
            <a:ext cx="3534234" cy="4930128"/>
          </a:xfrm>
        </p:spPr>
      </p:pic>
      <p:sp>
        <p:nvSpPr>
          <p:cNvPr id="2" name="Text Placeholder 1">
            <a:extLst>
              <a:ext uri="{FF2B5EF4-FFF2-40B4-BE49-F238E27FC236}">
                <a16:creationId xmlns:a16="http://schemas.microsoft.com/office/drawing/2014/main" id="{E27E51CC-9616-6D42-B578-1FC5CE6B351E}"/>
              </a:ext>
            </a:extLst>
          </p:cNvPr>
          <p:cNvSpPr>
            <a:spLocks noGrp="1"/>
          </p:cNvSpPr>
          <p:nvPr>
            <p:ph type="body" sz="quarter" idx="15"/>
          </p:nvPr>
        </p:nvSpPr>
        <p:spPr>
          <a:xfrm>
            <a:off x="5187206" y="4466404"/>
            <a:ext cx="6207125" cy="1135782"/>
          </a:xfrm>
        </p:spPr>
        <p:txBody>
          <a:bodyPr vert="horz" lIns="91440" tIns="45720" rIns="91440" bIns="45720" anchor="t">
            <a:normAutofit/>
          </a:bodyPr>
          <a:lstStyle/>
          <a:p>
            <a:pPr marL="91440" indent="-457200">
              <a:defRPr sz="2000" spc="90"/>
            </a:pPr>
            <a:r>
              <a:rPr>
                <a:solidFill>
                  <a:schemeClr val="tx2">
                    <a:lumMod val="90000"/>
                    <a:lumOff val="10000"/>
                  </a:schemeClr>
                </a:solidFill>
              </a:rPr>
              <a:t> </a:t>
            </a:r>
            <a:r>
              <a:t>PRESIDENT RUSSELL M. NELSON</a:t>
            </a:r>
          </a:p>
          <a:p>
            <a:pPr marL="91440" indent="-457200"/>
            <a:endParaRPr lang="en-US" sz="300" spc="90"/>
          </a:p>
          <a:p>
            <a:pPr marL="91440" indent="-457200">
              <a:defRPr i="1"/>
            </a:pPr>
            <a:r>
              <a:t>« </a:t>
            </a:r>
            <a:r>
              <a:rPr>
                <a:ea typeface="+mj-lt"/>
                <a:cs typeface="+mj-lt"/>
              </a:rPr>
              <a:t>Inauguration of Clark G. Gilbert » (BYU-Pathway Worldwide Inauguration, 16 novembre 2017), byupathway.org/speeches</a:t>
            </a:r>
          </a:p>
          <a:p>
            <a:pPr marL="91440" indent="-457200"/>
            <a:endParaRPr lang="en-US" i="1">
              <a:cs typeface="Calibri Light"/>
            </a:endParaRPr>
          </a:p>
        </p:txBody>
      </p:sp>
      <p:sp>
        <p:nvSpPr>
          <p:cNvPr id="4" name="Slide Number Placeholder 3">
            <a:extLst>
              <a:ext uri="{FF2B5EF4-FFF2-40B4-BE49-F238E27FC236}">
                <a16:creationId xmlns:a16="http://schemas.microsoft.com/office/drawing/2014/main" id="{AE6F4071-8806-6945-8B92-7B7F1DFFF373}"/>
              </a:ext>
            </a:extLst>
          </p:cNvPr>
          <p:cNvSpPr>
            <a:spLocks noGrp="1"/>
          </p:cNvSpPr>
          <p:nvPr>
            <p:ph type="sldNum" sz="quarter" idx="4"/>
          </p:nvPr>
        </p:nvSpPr>
        <p:spPr>
          <a:xfrm>
            <a:off x="8799668" y="6356350"/>
            <a:ext cx="2743200" cy="365125"/>
          </a:xfrm>
        </p:spPr>
        <p:txBody>
          <a:bodyPr/>
          <a:lstStyle/>
          <a:p>
            <a:fld id="{8893C2FB-EF86-FD49-89EB-659751C15892}" type="slidenum">
              <a:rPr lang="en-US" smtClean="0"/>
              <a:t>21</a:t>
            </a:fld>
            <a:endParaRPr lang="en-US"/>
          </a:p>
        </p:txBody>
      </p:sp>
      <p:sp>
        <p:nvSpPr>
          <p:cNvPr id="11" name="Rectangle 10">
            <a:extLst>
              <a:ext uri="{FF2B5EF4-FFF2-40B4-BE49-F238E27FC236}">
                <a16:creationId xmlns:a16="http://schemas.microsoft.com/office/drawing/2014/main" id="{30C5D16C-14E2-EB05-3070-CA1F80EFF499}"/>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2" name="Picture 11" descr="Text  Description automatically generated">
            <a:extLst>
              <a:ext uri="{FF2B5EF4-FFF2-40B4-BE49-F238E27FC236}">
                <a16:creationId xmlns:a16="http://schemas.microsoft.com/office/drawing/2014/main" id="{C48AEFC2-07B0-174B-70A2-0E53F448DE8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3" name="TextBox 2">
            <a:extLst>
              <a:ext uri="{FF2B5EF4-FFF2-40B4-BE49-F238E27FC236}">
                <a16:creationId xmlns:a16="http://schemas.microsoft.com/office/drawing/2014/main" id="{6D06104A-829B-66CC-9B73-FC55C759289C}"/>
              </a:ext>
            </a:extLst>
          </p:cNvPr>
          <p:cNvSpPr txBox="1"/>
          <p:nvPr/>
        </p:nvSpPr>
        <p:spPr>
          <a:xfrm>
            <a:off x="5107367" y="1961351"/>
            <a:ext cx="5224670" cy="2246769"/>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 BYU-Pathway Worldwide </a:t>
            </a:r>
            <a:r>
              <a:rPr err="1"/>
              <a:t>apporte</a:t>
            </a:r>
            <a:r>
              <a:t> </a:t>
            </a:r>
            <a:r>
              <a:rPr err="1"/>
              <a:t>une</a:t>
            </a:r>
            <a:r>
              <a:rPr lang="en-US"/>
              <a:t> </a:t>
            </a:r>
            <a:r>
              <a:rPr err="1"/>
              <a:t>approche</a:t>
            </a:r>
            <a:r>
              <a:rPr lang="en-US"/>
              <a:t> </a:t>
            </a:r>
            <a:r>
              <a:rPr err="1"/>
              <a:t>innovante</a:t>
            </a:r>
            <a:r>
              <a:rPr lang="en-US"/>
              <a:t> à  </a:t>
            </a:r>
            <a:r>
              <a:rPr err="1"/>
              <a:t>l’éducation</a:t>
            </a:r>
            <a:r>
              <a:t> – </a:t>
            </a:r>
            <a:r>
              <a:rPr err="1"/>
              <a:t>une</a:t>
            </a:r>
            <a:r>
              <a:t> </a:t>
            </a:r>
            <a:r>
              <a:rPr err="1"/>
              <a:t>approche</a:t>
            </a:r>
            <a:r>
              <a:t> unique au </a:t>
            </a:r>
            <a:r>
              <a:rPr err="1"/>
              <a:t>système</a:t>
            </a:r>
            <a:r>
              <a:t> </a:t>
            </a:r>
            <a:r>
              <a:rPr err="1"/>
              <a:t>d’éducation</a:t>
            </a:r>
            <a:r>
              <a:t> de </a:t>
            </a:r>
            <a:r>
              <a:rPr err="1"/>
              <a:t>l’Église</a:t>
            </a:r>
            <a:r>
              <a:t> et au monde. »</a:t>
            </a:r>
            <a:endParaRPr lang="en-US">
              <a:latin typeface="Calibri Light"/>
              <a:cs typeface="Calibri" panose="020F0502020204030204"/>
            </a:endParaRPr>
          </a:p>
        </p:txBody>
      </p:sp>
    </p:spTree>
    <p:extLst>
      <p:ext uri="{BB962C8B-B14F-4D97-AF65-F5344CB8AC3E}">
        <p14:creationId xmlns:p14="http://schemas.microsoft.com/office/powerpoint/2010/main" val="81127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54BE8D-8FA8-E848-A8A4-B29156438D36}"/>
              </a:ext>
            </a:extLst>
          </p:cNvPr>
          <p:cNvPicPr>
            <a:picLocks noChangeAspect="1"/>
          </p:cNvPicPr>
          <p:nvPr/>
        </p:nvPicPr>
        <p:blipFill>
          <a:blip r:embed="rId3">
            <a:alphaModFix/>
          </a:blip>
          <a:stretch>
            <a:fillRect/>
          </a:stretch>
        </p:blipFill>
        <p:spPr>
          <a:xfrm>
            <a:off x="152400" y="2361520"/>
            <a:ext cx="12030844" cy="4187952"/>
          </a:xfrm>
          <a:prstGeom prst="rect">
            <a:avLst/>
          </a:prstGeom>
        </p:spPr>
      </p:pic>
      <p:grpSp>
        <p:nvGrpSpPr>
          <p:cNvPr id="8" name="Group 7">
            <a:extLst>
              <a:ext uri="{FF2B5EF4-FFF2-40B4-BE49-F238E27FC236}">
                <a16:creationId xmlns:a16="http://schemas.microsoft.com/office/drawing/2014/main" id="{B9743748-029C-BA4B-BFEB-538BEAB6647F}"/>
              </a:ext>
            </a:extLst>
          </p:cNvPr>
          <p:cNvGrpSpPr/>
          <p:nvPr/>
        </p:nvGrpSpPr>
        <p:grpSpPr>
          <a:xfrm>
            <a:off x="6795038" y="4283271"/>
            <a:ext cx="3478900" cy="1431729"/>
            <a:chOff x="6933068" y="2489510"/>
            <a:chExt cx="3478900" cy="1431729"/>
          </a:xfrm>
        </p:grpSpPr>
        <p:sp>
          <p:nvSpPr>
            <p:cNvPr id="11" name="Content Placeholder 2">
              <a:extLst>
                <a:ext uri="{FF2B5EF4-FFF2-40B4-BE49-F238E27FC236}">
                  <a16:creationId xmlns:a16="http://schemas.microsoft.com/office/drawing/2014/main" id="{8128025E-2085-7549-B624-6835C7347657}"/>
                </a:ext>
              </a:extLst>
            </p:cNvPr>
            <p:cNvSpPr txBox="1">
              <a:spLocks/>
            </p:cNvSpPr>
            <p:nvPr/>
          </p:nvSpPr>
          <p:spPr>
            <a:xfrm>
              <a:off x="8461800" y="2856526"/>
              <a:ext cx="1257788" cy="574261"/>
            </a:xfrm>
            <a:prstGeom prst="rect">
              <a:avLst/>
            </a:prstGeom>
          </p:spPr>
          <p:txBody>
            <a:bodyPr vert="horz" lIns="91440" tIns="45720" rIns="91440" bIns="45720">
              <a:normAutofit fontScale="92500" lnSpcReduction="2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4800" b="1">
                  <a:solidFill>
                    <a:srgbClr val="3A929D"/>
                  </a:solidFill>
                </a:defRPr>
              </a:pPr>
              <a:r>
                <a:t>50</a:t>
              </a:r>
            </a:p>
            <a:p>
              <a:pPr marL="0" indent="0">
                <a:buFont typeface="Arial"/>
                <a:buNone/>
              </a:pPr>
              <a:endParaRPr lang="en-US">
                <a:solidFill>
                  <a:srgbClr val="313031"/>
                </a:solidFill>
              </a:endParaRPr>
            </a:p>
          </p:txBody>
        </p:sp>
        <p:sp>
          <p:nvSpPr>
            <p:cNvPr id="13" name="Content Placeholder 2">
              <a:extLst>
                <a:ext uri="{FF2B5EF4-FFF2-40B4-BE49-F238E27FC236}">
                  <a16:creationId xmlns:a16="http://schemas.microsoft.com/office/drawing/2014/main" id="{3EE4FC85-3420-6E46-9A23-9394895C232D}"/>
                </a:ext>
              </a:extLst>
            </p:cNvPr>
            <p:cNvSpPr txBox="1">
              <a:spLocks/>
            </p:cNvSpPr>
            <p:nvPr/>
          </p:nvSpPr>
          <p:spPr>
            <a:xfrm>
              <a:off x="8473798" y="3314958"/>
              <a:ext cx="1938170" cy="354881"/>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400"/>
              </a:pPr>
              <a:r>
                <a:t>États américains</a:t>
              </a:r>
            </a:p>
            <a:p>
              <a:pPr marL="0" indent="0">
                <a:buFont typeface="Arial"/>
                <a:buNone/>
              </a:pPr>
              <a:endParaRPr lang="en-US" sz="1800">
                <a:solidFill>
                  <a:srgbClr val="313031"/>
                </a:solidFill>
              </a:endParaRPr>
            </a:p>
          </p:txBody>
        </p:sp>
        <p:pic>
          <p:nvPicPr>
            <p:cNvPr id="15" name="Graphic 14">
              <a:extLst>
                <a:ext uri="{FF2B5EF4-FFF2-40B4-BE49-F238E27FC236}">
                  <a16:creationId xmlns:a16="http://schemas.microsoft.com/office/drawing/2014/main" id="{A79687C4-B883-C04E-A357-186FF25D63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33068" y="2489510"/>
              <a:ext cx="1431729" cy="1431729"/>
            </a:xfrm>
            <a:prstGeom prst="rect">
              <a:avLst/>
            </a:prstGeom>
          </p:spPr>
        </p:pic>
      </p:grpSp>
      <p:sp>
        <p:nvSpPr>
          <p:cNvPr id="7" name="Content Placeholder 2">
            <a:extLst>
              <a:ext uri="{FF2B5EF4-FFF2-40B4-BE49-F238E27FC236}">
                <a16:creationId xmlns:a16="http://schemas.microsoft.com/office/drawing/2014/main" id="{51B62A34-B3B6-4349-92F0-797C0A58AE51}"/>
              </a:ext>
            </a:extLst>
          </p:cNvPr>
          <p:cNvSpPr txBox="1">
            <a:spLocks/>
          </p:cNvSpPr>
          <p:nvPr/>
        </p:nvSpPr>
        <p:spPr>
          <a:xfrm>
            <a:off x="1343362" y="3724047"/>
            <a:ext cx="4587768" cy="1441490"/>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9600" b="1">
                <a:solidFill>
                  <a:srgbClr val="3A929D"/>
                </a:solidFill>
              </a:defRPr>
            </a:pPr>
            <a:r>
              <a:t>61,338</a:t>
            </a:r>
            <a:endParaRPr lang="en-US" sz="5400" b="1">
              <a:solidFill>
                <a:srgbClr val="F9C608"/>
              </a:solidFill>
            </a:endParaRPr>
          </a:p>
        </p:txBody>
      </p:sp>
      <p:sp>
        <p:nvSpPr>
          <p:cNvPr id="9" name="Content Placeholder 2">
            <a:extLst>
              <a:ext uri="{FF2B5EF4-FFF2-40B4-BE49-F238E27FC236}">
                <a16:creationId xmlns:a16="http://schemas.microsoft.com/office/drawing/2014/main" id="{DC3A6AFC-2C1E-184F-81B1-63F70349E2B1}"/>
              </a:ext>
            </a:extLst>
          </p:cNvPr>
          <p:cNvSpPr txBox="1">
            <a:spLocks/>
          </p:cNvSpPr>
          <p:nvPr/>
        </p:nvSpPr>
        <p:spPr>
          <a:xfrm>
            <a:off x="1581381" y="5044687"/>
            <a:ext cx="4190092" cy="759595"/>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3100"/>
            </a:pPr>
            <a:r>
              <a:t>Étudiants servis en 2022</a:t>
            </a:r>
          </a:p>
          <a:p>
            <a:pPr marL="0" indent="0" algn="ctr">
              <a:buFont typeface="Arial"/>
              <a:buNone/>
            </a:pPr>
            <a:endParaRPr lang="en-US" sz="2000">
              <a:solidFill>
                <a:srgbClr val="313031"/>
              </a:solidFill>
            </a:endParaRPr>
          </a:p>
        </p:txBody>
      </p:sp>
      <p:pic>
        <p:nvPicPr>
          <p:cNvPr id="16" name="Graphic 15">
            <a:extLst>
              <a:ext uri="{FF2B5EF4-FFF2-40B4-BE49-F238E27FC236}">
                <a16:creationId xmlns:a16="http://schemas.microsoft.com/office/drawing/2014/main" id="{08FE6B69-276F-9743-A1BB-44682FF100D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83070" y="2396119"/>
            <a:ext cx="1689643" cy="1689643"/>
          </a:xfrm>
          <a:prstGeom prst="rect">
            <a:avLst/>
          </a:prstGeom>
        </p:spPr>
      </p:pic>
      <p:cxnSp>
        <p:nvCxnSpPr>
          <p:cNvPr id="17" name="Straight Connector 16">
            <a:extLst>
              <a:ext uri="{FF2B5EF4-FFF2-40B4-BE49-F238E27FC236}">
                <a16:creationId xmlns:a16="http://schemas.microsoft.com/office/drawing/2014/main" id="{9093A650-F293-D145-A818-A4A6A56F52E6}"/>
              </a:ext>
            </a:extLst>
          </p:cNvPr>
          <p:cNvCxnSpPr>
            <a:cxnSpLocks/>
          </p:cNvCxnSpPr>
          <p:nvPr/>
        </p:nvCxnSpPr>
        <p:spPr>
          <a:xfrm>
            <a:off x="6096000" y="2361520"/>
            <a:ext cx="0" cy="347844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6" name="Slide Number Placeholder 3">
            <a:extLst>
              <a:ext uri="{FF2B5EF4-FFF2-40B4-BE49-F238E27FC236}">
                <a16:creationId xmlns:a16="http://schemas.microsoft.com/office/drawing/2014/main" id="{EA71D5DF-E7DC-3741-8D95-947602EF5B8B}"/>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22</a:t>
            </a:fld>
            <a:endParaRPr lang="en-US"/>
          </a:p>
        </p:txBody>
      </p:sp>
      <p:grpSp>
        <p:nvGrpSpPr>
          <p:cNvPr id="20" name="Group 19">
            <a:extLst>
              <a:ext uri="{FF2B5EF4-FFF2-40B4-BE49-F238E27FC236}">
                <a16:creationId xmlns:a16="http://schemas.microsoft.com/office/drawing/2014/main" id="{3AAF684B-AAA6-D14A-B33D-C5788C76530D}"/>
              </a:ext>
            </a:extLst>
          </p:cNvPr>
          <p:cNvGrpSpPr/>
          <p:nvPr/>
        </p:nvGrpSpPr>
        <p:grpSpPr>
          <a:xfrm>
            <a:off x="6896282" y="2732319"/>
            <a:ext cx="3344998" cy="1126126"/>
            <a:chOff x="7066970" y="4066710"/>
            <a:chExt cx="3344998" cy="1126126"/>
          </a:xfrm>
        </p:grpSpPr>
        <p:pic>
          <p:nvPicPr>
            <p:cNvPr id="14" name="Graphic 13">
              <a:extLst>
                <a:ext uri="{FF2B5EF4-FFF2-40B4-BE49-F238E27FC236}">
                  <a16:creationId xmlns:a16="http://schemas.microsoft.com/office/drawing/2014/main" id="{A54A6C9C-B7AC-A542-9A06-E82407613B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66970" y="4066710"/>
              <a:ext cx="1126126" cy="1126126"/>
            </a:xfrm>
            <a:prstGeom prst="rect">
              <a:avLst/>
            </a:prstGeom>
          </p:spPr>
        </p:pic>
        <p:sp>
          <p:nvSpPr>
            <p:cNvPr id="25" name="Content Placeholder 2">
              <a:extLst>
                <a:ext uri="{FF2B5EF4-FFF2-40B4-BE49-F238E27FC236}">
                  <a16:creationId xmlns:a16="http://schemas.microsoft.com/office/drawing/2014/main" id="{CFED76EC-02F7-7B47-A712-14380461C44A}"/>
                </a:ext>
              </a:extLst>
            </p:cNvPr>
            <p:cNvSpPr txBox="1">
              <a:spLocks/>
            </p:cNvSpPr>
            <p:nvPr/>
          </p:nvSpPr>
          <p:spPr>
            <a:xfrm>
              <a:off x="8461800" y="4164624"/>
              <a:ext cx="1413720" cy="788929"/>
            </a:xfrm>
            <a:prstGeom prst="rect">
              <a:avLst/>
            </a:prstGeom>
          </p:spPr>
          <p:txBody>
            <a:bodyPr vert="horz" lIns="91440" tIns="45720" rIns="91440" bIns="45720">
              <a:normAutofit fontScale="85000" lnSpcReduction="1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5200" b="1">
                  <a:solidFill>
                    <a:srgbClr val="3A929D"/>
                  </a:solidFill>
                </a:defRPr>
              </a:pPr>
              <a:r>
                <a:t>180+</a:t>
              </a:r>
            </a:p>
            <a:p>
              <a:pPr marL="0" indent="0">
                <a:buFont typeface="Arial"/>
                <a:buNone/>
              </a:pPr>
              <a:endParaRPr lang="en-US">
                <a:solidFill>
                  <a:srgbClr val="313031"/>
                </a:solidFill>
              </a:endParaRPr>
            </a:p>
          </p:txBody>
        </p:sp>
        <p:sp>
          <p:nvSpPr>
            <p:cNvPr id="27" name="Content Placeholder 2">
              <a:extLst>
                <a:ext uri="{FF2B5EF4-FFF2-40B4-BE49-F238E27FC236}">
                  <a16:creationId xmlns:a16="http://schemas.microsoft.com/office/drawing/2014/main" id="{97C45E0F-097C-D54E-9A22-B9CF15C732AE}"/>
                </a:ext>
              </a:extLst>
            </p:cNvPr>
            <p:cNvSpPr txBox="1">
              <a:spLocks/>
            </p:cNvSpPr>
            <p:nvPr/>
          </p:nvSpPr>
          <p:spPr>
            <a:xfrm>
              <a:off x="8473798" y="4659632"/>
              <a:ext cx="1938170" cy="354881"/>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400"/>
              </a:pPr>
              <a:r>
                <a:t>Pays</a:t>
              </a:r>
            </a:p>
            <a:p>
              <a:pPr marL="0" indent="0">
                <a:buFont typeface="Arial"/>
                <a:buNone/>
              </a:pPr>
              <a:endParaRPr lang="en-US" sz="1800">
                <a:solidFill>
                  <a:srgbClr val="313031"/>
                </a:solidFill>
              </a:endParaRPr>
            </a:p>
          </p:txBody>
        </p:sp>
      </p:grpSp>
      <p:sp>
        <p:nvSpPr>
          <p:cNvPr id="5" name="Rectangle 4">
            <a:extLst>
              <a:ext uri="{FF2B5EF4-FFF2-40B4-BE49-F238E27FC236}">
                <a16:creationId xmlns:a16="http://schemas.microsoft.com/office/drawing/2014/main" id="{ACFA6863-415F-7E51-73CA-568F029B5D0E}"/>
              </a:ext>
            </a:extLst>
          </p:cNvPr>
          <p:cNvSpPr/>
          <p:nvPr/>
        </p:nvSpPr>
        <p:spPr>
          <a:xfrm>
            <a:off x="4985657" y="0"/>
            <a:ext cx="2220686" cy="1854926"/>
          </a:xfrm>
          <a:prstGeom prst="rect">
            <a:avLst/>
          </a:prstGeom>
          <a:solidFill>
            <a:srgbClr val="F9C60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6" name="Picture 5" descr="Text  Description automatically generated">
            <a:extLst>
              <a:ext uri="{FF2B5EF4-FFF2-40B4-BE49-F238E27FC236}">
                <a16:creationId xmlns:a16="http://schemas.microsoft.com/office/drawing/2014/main" id="{62D59408-DB23-CF42-2029-4014192AE2B1}"/>
              </a:ext>
            </a:extLst>
          </p:cNvPr>
          <p:cNvPicPr>
            <a:picLocks noChangeAspect="1"/>
          </p:cNvPicPr>
          <p:nvPr/>
        </p:nvPicPr>
        <p:blipFill>
          <a:blip r:embed="rId10"/>
          <a:stretch>
            <a:fillRect/>
          </a:stretch>
        </p:blipFill>
        <p:spPr>
          <a:xfrm>
            <a:off x="5222649" y="379389"/>
            <a:ext cx="1743270" cy="1096147"/>
          </a:xfrm>
          <a:prstGeom prst="rect">
            <a:avLst/>
          </a:prstGeom>
        </p:spPr>
      </p:pic>
    </p:spTree>
    <p:extLst>
      <p:ext uri="{BB962C8B-B14F-4D97-AF65-F5344CB8AC3E}">
        <p14:creationId xmlns:p14="http://schemas.microsoft.com/office/powerpoint/2010/main" val="678674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3D2BDDA9-AB6E-6BCB-E09E-9803C27E2FD2}"/>
              </a:ext>
            </a:extLst>
          </p:cNvPr>
          <p:cNvSpPr txBox="1">
            <a:spLocks/>
          </p:cNvSpPr>
          <p:nvPr/>
        </p:nvSpPr>
        <p:spPr>
          <a:xfrm>
            <a:off x="284372" y="3607695"/>
            <a:ext cx="6207125" cy="800116"/>
          </a:xfrm>
          <a:prstGeom prst="rect">
            <a:avLst/>
          </a:prstGeom>
        </p:spPr>
        <p:txBody>
          <a:bodyPr vert="horz" lIns="91440" tIns="45720" rIns="91440" bIns="45720" anchor="t">
            <a:norm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buNone/>
              <a:defRPr sz="2000" spc="100">
                <a:solidFill>
                  <a:schemeClr val="tx2">
                    <a:lumMod val="75000"/>
                    <a:lumOff val="25000"/>
                  </a:schemeClr>
                </a:solidFill>
                <a:latin typeface="+mj-lt"/>
                <a:ea typeface="+mj-lt"/>
                <a:cs typeface="+mj-lt"/>
              </a:defRPr>
            </a:pPr>
            <a:r>
              <a:t>ELDER KIM B. CLARK</a:t>
            </a:r>
            <a:endParaRPr lang="en-US" sz="2000">
              <a:solidFill>
                <a:schemeClr val="tx2">
                  <a:lumMod val="75000"/>
                  <a:lumOff val="25000"/>
                </a:schemeClr>
              </a:solidFill>
              <a:cs typeface="Calibri" panose="020F0502020204030204"/>
            </a:endParaRPr>
          </a:p>
          <a:p>
            <a:pPr marL="0" indent="0">
              <a:lnSpc>
                <a:spcPct val="100000"/>
              </a:lnSpc>
              <a:spcBef>
                <a:spcPts val="0"/>
              </a:spcBef>
              <a:buNone/>
              <a:defRPr sz="1600" i="1" spc="100">
                <a:solidFill>
                  <a:schemeClr val="tx2">
                    <a:lumMod val="75000"/>
                    <a:lumOff val="25000"/>
                  </a:schemeClr>
                </a:solidFill>
                <a:latin typeface="+mj-lt"/>
                <a:cs typeface="Calibri Light" panose="020F0302020204030204"/>
              </a:defRPr>
            </a:pPr>
            <a:r>
              <a:t>Ancien commissaire du Département d’Éducation de l’Église</a:t>
            </a:r>
          </a:p>
        </p:txBody>
      </p:sp>
      <p:sp>
        <p:nvSpPr>
          <p:cNvPr id="7" name="TextBox 6">
            <a:extLst>
              <a:ext uri="{FF2B5EF4-FFF2-40B4-BE49-F238E27FC236}">
                <a16:creationId xmlns:a16="http://schemas.microsoft.com/office/drawing/2014/main" id="{941A5633-AA7A-14B8-7713-9258B29BC47B}"/>
              </a:ext>
            </a:extLst>
          </p:cNvPr>
          <p:cNvSpPr txBox="1"/>
          <p:nvPr/>
        </p:nvSpPr>
        <p:spPr>
          <a:xfrm>
            <a:off x="141274" y="1739853"/>
            <a:ext cx="5685468" cy="1815882"/>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 </a:t>
            </a:r>
            <a:r>
              <a:rPr err="1"/>
              <a:t>C’est</a:t>
            </a:r>
            <a:r>
              <a:t> un miracle que nous </a:t>
            </a:r>
            <a:r>
              <a:rPr err="1"/>
              <a:t>puissions</a:t>
            </a:r>
            <a:r>
              <a:t> dire </a:t>
            </a:r>
            <a:r>
              <a:rPr err="1"/>
              <a:t>aujourd’hui</a:t>
            </a:r>
            <a:r>
              <a:t> que BYU-Pathway </a:t>
            </a:r>
            <a:r>
              <a:rPr err="1"/>
              <a:t>est</a:t>
            </a:r>
            <a:r>
              <a:t> </a:t>
            </a:r>
            <a:r>
              <a:rPr err="1"/>
              <a:t>une</a:t>
            </a:r>
            <a:r>
              <a:t> école à Sion, </a:t>
            </a:r>
            <a:r>
              <a:rPr err="1"/>
              <a:t>où</a:t>
            </a:r>
            <a:r>
              <a:t> que se </a:t>
            </a:r>
            <a:r>
              <a:rPr err="1"/>
              <a:t>trouve</a:t>
            </a:r>
            <a:r>
              <a:rPr lang="en-US"/>
              <a:t> Sion</a:t>
            </a:r>
            <a:r>
              <a:t>. »</a:t>
            </a:r>
            <a:endParaRPr lang="en-US" sz="2800">
              <a:latin typeface="Calibri Light"/>
              <a:cs typeface="Calibri" panose="020F0502020204030204"/>
            </a:endParaRPr>
          </a:p>
        </p:txBody>
      </p:sp>
    </p:spTree>
    <p:extLst>
      <p:ext uri="{BB962C8B-B14F-4D97-AF65-F5344CB8AC3E}">
        <p14:creationId xmlns:p14="http://schemas.microsoft.com/office/powerpoint/2010/main" val="276850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343785" y="5552049"/>
            <a:ext cx="6207125" cy="962488"/>
          </a:xfrm>
        </p:spPr>
        <p:txBody>
          <a:bodyPr vert="horz" lIns="91440" tIns="45720" rIns="91440" bIns="45720" anchor="t">
            <a:normAutofit/>
          </a:bodyPr>
          <a:lstStyle/>
          <a:p>
            <a:pPr marL="4445">
              <a:defRPr sz="2000"/>
            </a:pPr>
            <a:r>
              <a:t>MARIA JOSE MERCAU</a:t>
            </a:r>
          </a:p>
          <a:p>
            <a:pPr marL="4445">
              <a:defRPr i="1"/>
            </a:pPr>
            <a:r>
              <a:t>Argentine</a:t>
            </a:r>
            <a:endParaRPr lang="en-US">
              <a:ea typeface="Calibri Light" panose="020F0302020204030204"/>
              <a:cs typeface="Calibri Light" panose="020F0302020204030204"/>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smtClean="0"/>
              <a:t>24</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11" name="Picture Placeholder 10" descr="A person wearing glasses  Description automatically generated with low confidence">
            <a:extLst>
              <a:ext uri="{FF2B5EF4-FFF2-40B4-BE49-F238E27FC236}">
                <a16:creationId xmlns:a16="http://schemas.microsoft.com/office/drawing/2014/main" id="{297993C7-097B-B3D4-7543-C6CE860418A6}"/>
              </a:ext>
            </a:extLst>
          </p:cNvPr>
          <p:cNvPicPr>
            <a:picLocks noGrp="1" noChangeAspect="1"/>
          </p:cNvPicPr>
          <p:nvPr>
            <p:ph type="pic" idx="1"/>
          </p:nvPr>
        </p:nvPicPr>
        <p:blipFill>
          <a:blip r:embed="rId4" cstate="screen">
            <a:extLst>
              <a:ext uri="{28A0092B-C50C-407E-A947-70E740481C1C}">
                <a14:useLocalDpi xmlns:a14="http://schemas.microsoft.com/office/drawing/2010/main"/>
              </a:ext>
            </a:extLst>
          </a:blip>
          <a:srcRect/>
          <a:stretch>
            <a:fillRect/>
          </a:stretch>
        </p:blipFill>
        <p:spPr>
          <a:xfrm>
            <a:off x="1058149" y="952925"/>
            <a:ext cx="3527109" cy="4960571"/>
          </a:xfrm>
        </p:spPr>
      </p:pic>
      <p:sp>
        <p:nvSpPr>
          <p:cNvPr id="6" name="TextBox 5">
            <a:extLst>
              <a:ext uri="{FF2B5EF4-FFF2-40B4-BE49-F238E27FC236}">
                <a16:creationId xmlns:a16="http://schemas.microsoft.com/office/drawing/2014/main" id="{D4E20C81-273A-914E-0603-17C8EC006BC0}"/>
              </a:ext>
            </a:extLst>
          </p:cNvPr>
          <p:cNvSpPr txBox="1"/>
          <p:nvPr/>
        </p:nvSpPr>
        <p:spPr>
          <a:xfrm>
            <a:off x="5160068" y="1662998"/>
            <a:ext cx="6311328" cy="3539430"/>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 En raison de la </a:t>
            </a:r>
            <a:r>
              <a:rPr err="1"/>
              <a:t>pandémie</a:t>
            </a:r>
            <a:r>
              <a:t>, </a:t>
            </a:r>
            <a:r>
              <a:rPr err="1"/>
              <a:t>j’ai</a:t>
            </a:r>
            <a:r>
              <a:t> perdu </a:t>
            </a:r>
            <a:r>
              <a:rPr err="1"/>
              <a:t>mon</a:t>
            </a:r>
            <a:r>
              <a:t> </a:t>
            </a:r>
            <a:r>
              <a:rPr err="1"/>
              <a:t>emploi</a:t>
            </a:r>
            <a:r>
              <a:t>. </a:t>
            </a:r>
            <a:r>
              <a:rPr err="1"/>
              <a:t>J’ai</a:t>
            </a:r>
            <a:r>
              <a:t> </a:t>
            </a:r>
            <a:r>
              <a:rPr err="1"/>
              <a:t>décidé</a:t>
            </a:r>
            <a:r>
              <a:t> de </a:t>
            </a:r>
            <a:r>
              <a:rPr err="1"/>
              <a:t>tirer</a:t>
            </a:r>
            <a:r>
              <a:t> le </a:t>
            </a:r>
            <a:r>
              <a:rPr err="1"/>
              <a:t>meilleur</a:t>
            </a:r>
            <a:r>
              <a:t> parti de la situation </a:t>
            </a:r>
            <a:r>
              <a:rPr err="1"/>
              <a:t>en</a:t>
            </a:r>
            <a:r>
              <a:t> </a:t>
            </a:r>
            <a:r>
              <a:rPr err="1"/>
              <a:t>commençant</a:t>
            </a:r>
            <a:r>
              <a:t> </a:t>
            </a:r>
            <a:r>
              <a:rPr err="1"/>
              <a:t>une</a:t>
            </a:r>
            <a:r>
              <a:t> nouvelle </a:t>
            </a:r>
            <a:r>
              <a:rPr err="1"/>
              <a:t>carrière</a:t>
            </a:r>
            <a:r>
              <a:t> et </a:t>
            </a:r>
            <a:r>
              <a:rPr err="1"/>
              <a:t>en</a:t>
            </a:r>
            <a:r>
              <a:t> </a:t>
            </a:r>
            <a:r>
              <a:rPr err="1"/>
              <a:t>étudiant</a:t>
            </a:r>
            <a:r>
              <a:t> à travers BYU-Pathway. Je suis </a:t>
            </a:r>
            <a:r>
              <a:rPr err="1"/>
              <a:t>maintenant</a:t>
            </a:r>
            <a:r>
              <a:t> un agent </a:t>
            </a:r>
            <a:r>
              <a:rPr err="1"/>
              <a:t>d’assistance</a:t>
            </a:r>
            <a:r>
              <a:t> </a:t>
            </a:r>
            <a:r>
              <a:rPr err="1"/>
              <a:t>informatique</a:t>
            </a:r>
            <a:r>
              <a:t> à temps plein, </a:t>
            </a:r>
            <a:r>
              <a:rPr err="1"/>
              <a:t>gagnant</a:t>
            </a:r>
            <a:r>
              <a:t> plus de deux </a:t>
            </a:r>
            <a:r>
              <a:rPr err="1"/>
              <a:t>fois</a:t>
            </a:r>
            <a:r>
              <a:t> plus </a:t>
            </a:r>
            <a:r>
              <a:rPr err="1"/>
              <a:t>en</a:t>
            </a:r>
            <a:r>
              <a:t> </a:t>
            </a:r>
            <a:r>
              <a:rPr err="1"/>
              <a:t>travaillant</a:t>
            </a:r>
            <a:r>
              <a:t> à domicile.</a:t>
            </a:r>
            <a:r>
              <a:rPr lang="en-US"/>
              <a:t> </a:t>
            </a:r>
            <a:r>
              <a:rPr lang="en-US">
                <a:cs typeface="Calibri Light"/>
              </a:rPr>
              <a:t>»</a:t>
            </a:r>
            <a:endParaRPr lang="en-US">
              <a:latin typeface="Calibri Light"/>
              <a:cs typeface="Calibri" panose="020F0502020204030204"/>
            </a:endParaRPr>
          </a:p>
        </p:txBody>
      </p:sp>
    </p:spTree>
    <p:extLst>
      <p:ext uri="{BB962C8B-B14F-4D97-AF65-F5344CB8AC3E}">
        <p14:creationId xmlns:p14="http://schemas.microsoft.com/office/powerpoint/2010/main" val="262665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460634" y="4622778"/>
            <a:ext cx="6207125" cy="962488"/>
          </a:xfrm>
        </p:spPr>
        <p:txBody>
          <a:bodyPr vert="horz" lIns="91440" tIns="45720" rIns="91440" bIns="45720" anchor="t">
            <a:normAutofit/>
          </a:bodyPr>
          <a:lstStyle/>
          <a:p>
            <a:pPr marL="4445">
              <a:defRPr sz="2000">
                <a:ea typeface="+mj-lt"/>
                <a:cs typeface="+mj-lt"/>
              </a:defRPr>
            </a:pPr>
            <a:r>
              <a:t>ALLISON MICKELSON</a:t>
            </a:r>
            <a:endParaRPr lang="en-US" sz="2000"/>
          </a:p>
          <a:p>
            <a:pPr marL="4445">
              <a:defRPr i="1">
                <a:cs typeface="Calibri Light" panose="020F0302020204030204"/>
              </a:defRPr>
            </a:pPr>
            <a:r>
              <a:t>ÉTATS-UNIS</a:t>
            </a:r>
            <a:endParaRPr lang="en-US" i="1">
              <a:ea typeface="Calibri Light"/>
              <a:cs typeface="Calibri Light" panose="020F0302020204030204"/>
            </a:endParaRPr>
          </a:p>
          <a:p>
            <a:pPr marL="4445"/>
            <a:endParaRPr lang="en-US">
              <a:cs typeface="Calibri Light" panose="020F0302020204030204"/>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smtClean="0"/>
              <a:t>25</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2" name="Picture 5" descr="A person wearing a graduation cap and gown  Description automatically generated">
            <a:extLst>
              <a:ext uri="{FF2B5EF4-FFF2-40B4-BE49-F238E27FC236}">
                <a16:creationId xmlns:a16="http://schemas.microsoft.com/office/drawing/2014/main" id="{7E232541-522F-A524-6E49-76D26F1E0210}"/>
              </a:ext>
            </a:extLst>
          </p:cNvPr>
          <p:cNvPicPr>
            <a:picLocks noChangeAspect="1"/>
          </p:cNvPicPr>
          <p:nvPr/>
        </p:nvPicPr>
        <p:blipFill rotWithShape="1">
          <a:blip r:embed="rId4"/>
          <a:srcRect l="24194" t="382" r="38160" b="255"/>
          <a:stretch/>
        </p:blipFill>
        <p:spPr>
          <a:xfrm>
            <a:off x="1107991" y="971990"/>
            <a:ext cx="3531051" cy="4908540"/>
          </a:xfrm>
          <a:prstGeom prst="rect">
            <a:avLst/>
          </a:prstGeom>
        </p:spPr>
      </p:pic>
      <p:sp>
        <p:nvSpPr>
          <p:cNvPr id="7" name="TextBox 6">
            <a:extLst>
              <a:ext uri="{FF2B5EF4-FFF2-40B4-BE49-F238E27FC236}">
                <a16:creationId xmlns:a16="http://schemas.microsoft.com/office/drawing/2014/main" id="{72D8B01B-E85A-CFCC-0B85-4D1CC7F40238}"/>
              </a:ext>
            </a:extLst>
          </p:cNvPr>
          <p:cNvSpPr txBox="1"/>
          <p:nvPr/>
        </p:nvSpPr>
        <p:spPr>
          <a:xfrm>
            <a:off x="5289777" y="1793944"/>
            <a:ext cx="6205072" cy="2677656"/>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Calibri Light"/>
              </a:defRPr>
            </a:pPr>
            <a:r>
              <a:t>« </a:t>
            </a:r>
            <a:r>
              <a:rPr err="1"/>
              <a:t>C’était</a:t>
            </a:r>
            <a:r>
              <a:t> </a:t>
            </a:r>
            <a:r>
              <a:rPr err="1"/>
              <a:t>exactement</a:t>
            </a:r>
            <a:r>
              <a:t> </a:t>
            </a:r>
            <a:r>
              <a:rPr err="1"/>
              <a:t>ce</a:t>
            </a:r>
            <a:r>
              <a:t> </a:t>
            </a:r>
            <a:r>
              <a:rPr err="1"/>
              <a:t>dont</a:t>
            </a:r>
            <a:r>
              <a:t> </a:t>
            </a:r>
            <a:r>
              <a:rPr err="1"/>
              <a:t>j’avais</a:t>
            </a:r>
            <a:r>
              <a:t> </a:t>
            </a:r>
            <a:r>
              <a:rPr err="1"/>
              <a:t>besoin</a:t>
            </a:r>
            <a:r>
              <a:t> pour </a:t>
            </a:r>
            <a:r>
              <a:rPr err="1"/>
              <a:t>gagner</a:t>
            </a:r>
            <a:r>
              <a:t> </a:t>
            </a:r>
            <a:r>
              <a:rPr err="1"/>
              <a:t>en</a:t>
            </a:r>
            <a:r>
              <a:t> </a:t>
            </a:r>
            <a:r>
              <a:rPr err="1"/>
              <a:t>confiance</a:t>
            </a:r>
            <a:r>
              <a:t> et </a:t>
            </a:r>
            <a:r>
              <a:rPr err="1"/>
              <a:t>prouver</a:t>
            </a:r>
            <a:r>
              <a:t> que je </a:t>
            </a:r>
            <a:r>
              <a:rPr err="1"/>
              <a:t>pouvais</a:t>
            </a:r>
            <a:r>
              <a:t> </a:t>
            </a:r>
            <a:r>
              <a:rPr err="1"/>
              <a:t>travailler</a:t>
            </a:r>
            <a:r>
              <a:t> </a:t>
            </a:r>
            <a:r>
              <a:rPr err="1"/>
              <a:t>professionnellement</a:t>
            </a:r>
            <a:r>
              <a:t>.</a:t>
            </a:r>
            <a:r>
              <a:rPr lang="en-US"/>
              <a:t> </a:t>
            </a:r>
            <a:r>
              <a:t>Je me suis </a:t>
            </a:r>
            <a:r>
              <a:rPr err="1"/>
              <a:t>redécouvert</a:t>
            </a:r>
            <a:r>
              <a:t>.</a:t>
            </a:r>
            <a:r>
              <a:rPr lang="en-US"/>
              <a:t> </a:t>
            </a:r>
            <a:r>
              <a:t>Mes enfants </a:t>
            </a:r>
            <a:r>
              <a:rPr err="1"/>
              <a:t>ont</a:t>
            </a:r>
            <a:r>
              <a:t> vu que, </a:t>
            </a:r>
            <a:r>
              <a:rPr err="1"/>
              <a:t>quand</a:t>
            </a:r>
            <a:r>
              <a:t> on </a:t>
            </a:r>
            <a:r>
              <a:rPr err="1"/>
              <a:t>s’y</a:t>
            </a:r>
            <a:r>
              <a:t> met, on </a:t>
            </a:r>
            <a:r>
              <a:rPr err="1"/>
              <a:t>peut</a:t>
            </a:r>
            <a:r>
              <a:t> tout faire. »</a:t>
            </a:r>
            <a:endParaRPr lang="en-US"/>
          </a:p>
        </p:txBody>
      </p:sp>
    </p:spTree>
    <p:extLst>
      <p:ext uri="{BB962C8B-B14F-4D97-AF65-F5344CB8AC3E}">
        <p14:creationId xmlns:p14="http://schemas.microsoft.com/office/powerpoint/2010/main" val="148050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760225" y="5175300"/>
            <a:ext cx="6207125" cy="962488"/>
          </a:xfrm>
        </p:spPr>
        <p:txBody>
          <a:bodyPr vert="horz" lIns="91440" tIns="45720" rIns="91440" bIns="45720" anchor="t">
            <a:normAutofit/>
          </a:bodyPr>
          <a:lstStyle/>
          <a:p>
            <a:pPr marL="4445">
              <a:defRPr sz="2000"/>
            </a:pPr>
            <a:r>
              <a:t>EKPENYONG ETIM</a:t>
            </a:r>
          </a:p>
          <a:p>
            <a:pPr marL="4445">
              <a:defRPr i="1"/>
            </a:pPr>
            <a:r>
              <a:t>Nigéria</a:t>
            </a:r>
            <a:endParaRPr lang="en-US">
              <a:ea typeface="Calibri Light" panose="020F0302020204030204"/>
              <a:cs typeface="Calibri Light" panose="020F0302020204030204"/>
            </a:endParaRPr>
          </a:p>
          <a:p>
            <a:pPr marL="4445"/>
            <a:endParaRPr lang="en-US">
              <a:ea typeface="Calibri Light" panose="020F0302020204030204"/>
              <a:cs typeface="Calibri Light" panose="020F0302020204030204"/>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smtClean="0"/>
              <a:t>26</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10" name="Picture Placeholder 9" descr="A picture containing person, yellow, sitting, wall  Description automatically generated">
            <a:extLst>
              <a:ext uri="{FF2B5EF4-FFF2-40B4-BE49-F238E27FC236}">
                <a16:creationId xmlns:a16="http://schemas.microsoft.com/office/drawing/2014/main" id="{750707BF-418E-3DFA-86B4-6B15241A2016}"/>
              </a:ext>
            </a:extLst>
          </p:cNvPr>
          <p:cNvPicPr>
            <a:picLocks noGrp="1" noChangeAspect="1"/>
          </p:cNvPicPr>
          <p:nvPr>
            <p:ph type="pic" idx="1"/>
          </p:nvPr>
        </p:nvPicPr>
        <p:blipFill rotWithShape="1">
          <a:blip r:embed="rId4" cstate="screen">
            <a:extLst>
              <a:ext uri="{28A0092B-C50C-407E-A947-70E740481C1C}">
                <a14:useLocalDpi xmlns:a14="http://schemas.microsoft.com/office/drawing/2010/main"/>
              </a:ext>
            </a:extLst>
          </a:blip>
          <a:srcRect/>
          <a:stretch/>
        </p:blipFill>
        <p:spPr>
          <a:xfrm>
            <a:off x="1316392" y="962067"/>
            <a:ext cx="3524425" cy="4933866"/>
          </a:xfrm>
          <a:prstGeom prst="rect">
            <a:avLst/>
          </a:prstGeom>
        </p:spPr>
      </p:pic>
      <p:sp>
        <p:nvSpPr>
          <p:cNvPr id="6" name="TextBox 5">
            <a:extLst>
              <a:ext uri="{FF2B5EF4-FFF2-40B4-BE49-F238E27FC236}">
                <a16:creationId xmlns:a16="http://schemas.microsoft.com/office/drawing/2014/main" id="{09C67372-16C7-8323-2094-418D5E879626}"/>
              </a:ext>
            </a:extLst>
          </p:cNvPr>
          <p:cNvSpPr txBox="1"/>
          <p:nvPr/>
        </p:nvSpPr>
        <p:spPr>
          <a:xfrm>
            <a:off x="5590848" y="1745176"/>
            <a:ext cx="5613215" cy="3108543"/>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 BYU-Pathway et [mon travail à distance] m’ont donné de l’espoir. Le Nigeria connaît la pire inflation de ma vie. Je gagne maintenant deux fois plus qu’auparavant. Je passe plus de temps à la maison, ce qui a renforcé mes relations familiales. »</a:t>
            </a:r>
            <a:endParaRPr lang="en-US">
              <a:latin typeface="Calibri Light"/>
              <a:cs typeface="Calibri" panose="020F0502020204030204"/>
            </a:endParaRPr>
          </a:p>
        </p:txBody>
      </p:sp>
    </p:spTree>
    <p:extLst>
      <p:ext uri="{BB962C8B-B14F-4D97-AF65-F5344CB8AC3E}">
        <p14:creationId xmlns:p14="http://schemas.microsoft.com/office/powerpoint/2010/main" val="274431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smtClean="0"/>
              <a:t>27</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16" name="Rectangle 15">
            <a:extLst>
              <a:ext uri="{FF2B5EF4-FFF2-40B4-BE49-F238E27FC236}">
                <a16:creationId xmlns:a16="http://schemas.microsoft.com/office/drawing/2014/main" id="{62544AEE-9FDC-214D-8A9F-476D5C29C398}"/>
              </a:ext>
            </a:extLst>
          </p:cNvPr>
          <p:cNvSpPr/>
          <p:nvPr/>
        </p:nvSpPr>
        <p:spPr>
          <a:xfrm>
            <a:off x="0" y="372790"/>
            <a:ext cx="4340506" cy="94705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13" name="Text Placeholder 1">
            <a:extLst>
              <a:ext uri="{FF2B5EF4-FFF2-40B4-BE49-F238E27FC236}">
                <a16:creationId xmlns:a16="http://schemas.microsoft.com/office/drawing/2014/main" id="{E1815725-512E-9048-88FA-51D8CFFF78C2}"/>
              </a:ext>
            </a:extLst>
          </p:cNvPr>
          <p:cNvSpPr txBox="1">
            <a:spLocks/>
          </p:cNvSpPr>
          <p:nvPr/>
        </p:nvSpPr>
        <p:spPr>
          <a:xfrm>
            <a:off x="203751" y="584105"/>
            <a:ext cx="7342776"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800" b="1" spc="90">
                <a:solidFill>
                  <a:schemeClr val="tx2">
                    <a:lumMod val="90000"/>
                    <a:lumOff val="10000"/>
                  </a:schemeClr>
                </a:solidFill>
              </a:defRPr>
            </a:pPr>
            <a:r>
              <a:t>DATES ET DATES LIMITES</a:t>
            </a:r>
            <a:endParaRPr lang="en-US" sz="2400" b="1" spc="90">
              <a:solidFill>
                <a:schemeClr val="tx2">
                  <a:lumMod val="90000"/>
                  <a:lumOff val="10000"/>
                </a:schemeClr>
              </a:solidFill>
            </a:endParaRPr>
          </a:p>
        </p:txBody>
      </p:sp>
      <p:sp>
        <p:nvSpPr>
          <p:cNvPr id="11" name="Rectangle 10">
            <a:extLst>
              <a:ext uri="{FF2B5EF4-FFF2-40B4-BE49-F238E27FC236}">
                <a16:creationId xmlns:a16="http://schemas.microsoft.com/office/drawing/2014/main" id="{E0A6B640-4DBB-934E-8C59-733B3773CBFA}"/>
              </a:ext>
            </a:extLst>
          </p:cNvPr>
          <p:cNvSpPr/>
          <p:nvPr/>
        </p:nvSpPr>
        <p:spPr>
          <a:xfrm>
            <a:off x="1703564" y="1965405"/>
            <a:ext cx="3826320" cy="461665"/>
          </a:xfrm>
          <a:prstGeom prst="rect">
            <a:avLst/>
          </a:prstGeom>
        </p:spPr>
        <p:txBody>
          <a:bodyPr wrap="square">
            <a:spAutoFit/>
          </a:bodyPr>
          <a:lstStyle/>
          <a:p>
            <a:pPr>
              <a:defRPr sz="2400"/>
            </a:pPr>
            <a:r>
              <a:t>Dernier jour pour postuler :</a:t>
            </a:r>
          </a:p>
        </p:txBody>
      </p:sp>
      <p:pic>
        <p:nvPicPr>
          <p:cNvPr id="7" name="Picture 6">
            <a:extLst>
              <a:ext uri="{FF2B5EF4-FFF2-40B4-BE49-F238E27FC236}">
                <a16:creationId xmlns:a16="http://schemas.microsoft.com/office/drawing/2014/main" id="{7E254706-AC2D-5842-8B5B-C55CDE74DF5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75353" y="0"/>
            <a:ext cx="5216647" cy="6858000"/>
          </a:xfrm>
          <a:prstGeom prst="rect">
            <a:avLst/>
          </a:prstGeom>
        </p:spPr>
      </p:pic>
      <p:sp>
        <p:nvSpPr>
          <p:cNvPr id="14" name="Rectangle 13">
            <a:extLst>
              <a:ext uri="{FF2B5EF4-FFF2-40B4-BE49-F238E27FC236}">
                <a16:creationId xmlns:a16="http://schemas.microsoft.com/office/drawing/2014/main" id="{A1E4B2CF-DF77-B743-9DB9-1181D7EEA911}"/>
              </a:ext>
            </a:extLst>
          </p:cNvPr>
          <p:cNvSpPr/>
          <p:nvPr/>
        </p:nvSpPr>
        <p:spPr>
          <a:xfrm>
            <a:off x="1703565" y="2427070"/>
            <a:ext cx="5462088" cy="584775"/>
          </a:xfrm>
          <a:prstGeom prst="rect">
            <a:avLst/>
          </a:prstGeom>
        </p:spPr>
        <p:txBody>
          <a:bodyPr wrap="square" lIns="91440" tIns="45720" rIns="91440" bIns="45720" anchor="t">
            <a:spAutoFit/>
          </a:bodyPr>
          <a:lstStyle/>
          <a:p>
            <a:pPr>
              <a:defRPr sz="3200" b="1">
                <a:solidFill>
                  <a:srgbClr val="3A929D"/>
                </a:solidFill>
                <a:cs typeface="Calibri"/>
              </a:defRPr>
            </a:pPr>
            <a:r>
              <a:t>22 août</a:t>
            </a:r>
          </a:p>
        </p:txBody>
      </p:sp>
      <p:sp>
        <p:nvSpPr>
          <p:cNvPr id="17" name="Rectangle 16">
            <a:extLst>
              <a:ext uri="{FF2B5EF4-FFF2-40B4-BE49-F238E27FC236}">
                <a16:creationId xmlns:a16="http://schemas.microsoft.com/office/drawing/2014/main" id="{F8C23890-11F5-564B-88D0-051E87283A37}"/>
              </a:ext>
            </a:extLst>
          </p:cNvPr>
          <p:cNvSpPr/>
          <p:nvPr/>
        </p:nvSpPr>
        <p:spPr>
          <a:xfrm>
            <a:off x="1703564" y="3746703"/>
            <a:ext cx="3709562" cy="461665"/>
          </a:xfrm>
          <a:prstGeom prst="rect">
            <a:avLst/>
          </a:prstGeom>
        </p:spPr>
        <p:txBody>
          <a:bodyPr wrap="square">
            <a:spAutoFit/>
          </a:bodyPr>
          <a:lstStyle/>
          <a:p>
            <a:pPr>
              <a:defRPr sz="2400"/>
            </a:pPr>
            <a:r>
              <a:t>Premier jour de cours:</a:t>
            </a:r>
          </a:p>
        </p:txBody>
      </p:sp>
      <p:sp>
        <p:nvSpPr>
          <p:cNvPr id="18" name="Rectangle 17">
            <a:extLst>
              <a:ext uri="{FF2B5EF4-FFF2-40B4-BE49-F238E27FC236}">
                <a16:creationId xmlns:a16="http://schemas.microsoft.com/office/drawing/2014/main" id="{7CC0D360-1E86-F44D-8621-2BA1C1618D67}"/>
              </a:ext>
            </a:extLst>
          </p:cNvPr>
          <p:cNvSpPr/>
          <p:nvPr/>
        </p:nvSpPr>
        <p:spPr>
          <a:xfrm>
            <a:off x="1703565" y="4208368"/>
            <a:ext cx="5462088" cy="584775"/>
          </a:xfrm>
          <a:prstGeom prst="rect">
            <a:avLst/>
          </a:prstGeom>
        </p:spPr>
        <p:txBody>
          <a:bodyPr wrap="square" lIns="91440" tIns="45720" rIns="91440" bIns="45720" anchor="t">
            <a:spAutoFit/>
          </a:bodyPr>
          <a:lstStyle/>
          <a:p>
            <a:pPr>
              <a:defRPr sz="3200" b="1">
                <a:solidFill>
                  <a:srgbClr val="3A929D"/>
                </a:solidFill>
                <a:latin typeface="Calibri"/>
                <a:cs typeface="Calibri"/>
              </a:defRPr>
            </a:pPr>
            <a:r>
              <a:t>11 septembre</a:t>
            </a:r>
            <a:endParaRPr lang="en-US" sz="3200"/>
          </a:p>
        </p:txBody>
      </p:sp>
      <p:pic>
        <p:nvPicPr>
          <p:cNvPr id="3" name="Graphic 2">
            <a:extLst>
              <a:ext uri="{FF2B5EF4-FFF2-40B4-BE49-F238E27FC236}">
                <a16:creationId xmlns:a16="http://schemas.microsoft.com/office/drawing/2014/main" id="{00BE3916-5C63-E547-B89C-E98650B57F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911" y="2040532"/>
            <a:ext cx="842467" cy="842467"/>
          </a:xfrm>
          <a:prstGeom prst="rect">
            <a:avLst/>
          </a:prstGeom>
        </p:spPr>
      </p:pic>
      <p:pic>
        <p:nvPicPr>
          <p:cNvPr id="6" name="Graphic 5">
            <a:extLst>
              <a:ext uri="{FF2B5EF4-FFF2-40B4-BE49-F238E27FC236}">
                <a16:creationId xmlns:a16="http://schemas.microsoft.com/office/drawing/2014/main" id="{D4F24F43-F35B-784B-AEB5-1A12AEAD53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8182" y="3822602"/>
            <a:ext cx="993924" cy="993924"/>
          </a:xfrm>
          <a:prstGeom prst="rect">
            <a:avLst/>
          </a:prstGeom>
        </p:spPr>
      </p:pic>
    </p:spTree>
    <p:extLst>
      <p:ext uri="{BB962C8B-B14F-4D97-AF65-F5344CB8AC3E}">
        <p14:creationId xmlns:p14="http://schemas.microsoft.com/office/powerpoint/2010/main" val="319391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erson wearing a suit and tie  Description automatically generated">
            <a:extLst>
              <a:ext uri="{FF2B5EF4-FFF2-40B4-BE49-F238E27FC236}">
                <a16:creationId xmlns:a16="http://schemas.microsoft.com/office/drawing/2014/main" id="{04CA73B0-D905-7B41-B8F3-EBCC862C0B02}"/>
              </a:ext>
            </a:extLst>
          </p:cNvPr>
          <p:cNvPicPr>
            <a:picLocks noGrp="1" noChangeAspect="1"/>
          </p:cNvPicPr>
          <p:nvPr>
            <p:ph type="pic" idx="1"/>
          </p:nvPr>
        </p:nvPicPr>
        <p:blipFill>
          <a:blip r:embed="rId4" cstate="email">
            <a:extLst>
              <a:ext uri="{28A0092B-C50C-407E-A947-70E740481C1C}">
                <a14:useLocalDpi xmlns:a14="http://schemas.microsoft.com/office/drawing/2010/main"/>
              </a:ext>
            </a:extLst>
          </a:blip>
          <a:srcRect/>
          <a:stretch>
            <a:fillRect/>
          </a:stretch>
        </p:blipFill>
        <p:spPr/>
      </p:pic>
      <p:sp>
        <p:nvSpPr>
          <p:cNvPr id="4" name="Text Placeholder 3">
            <a:extLst>
              <a:ext uri="{FF2B5EF4-FFF2-40B4-BE49-F238E27FC236}">
                <a16:creationId xmlns:a16="http://schemas.microsoft.com/office/drawing/2014/main" id="{A94374B5-F2B9-7340-A780-6E9CB520CA88}"/>
              </a:ext>
            </a:extLst>
          </p:cNvPr>
          <p:cNvSpPr>
            <a:spLocks noGrp="1"/>
          </p:cNvSpPr>
          <p:nvPr>
            <p:ph type="body" sz="quarter" idx="15"/>
          </p:nvPr>
        </p:nvSpPr>
        <p:spPr>
          <a:xfrm>
            <a:off x="5265763" y="4552387"/>
            <a:ext cx="6207125" cy="962488"/>
          </a:xfrm>
        </p:spPr>
        <p:txBody>
          <a:bodyPr vert="horz" lIns="91440" tIns="45720" rIns="91440" bIns="45720" anchor="t">
            <a:normAutofit/>
          </a:bodyPr>
          <a:lstStyle/>
          <a:p>
            <a:pPr marL="4445">
              <a:defRPr sz="2000"/>
            </a:pPr>
            <a:r>
              <a:t>PRESIDENT RUSSELL M. NELSON</a:t>
            </a:r>
          </a:p>
          <a:p>
            <a:pPr marL="4445">
              <a:defRPr i="1">
                <a:ea typeface="+mj-lt"/>
                <a:cs typeface="+mj-lt"/>
              </a:defRPr>
            </a:pPr>
            <a:r>
              <a:t>« Education: A Religious Responsibility » (Réunion spirituelle BYU-Idaho, 26 </a:t>
            </a:r>
            <a:r>
              <a:rPr lang="en-US" err="1"/>
              <a:t>janvier</a:t>
            </a:r>
            <a:r>
              <a:t> 2010), byui.edu/speeches</a:t>
            </a:r>
            <a:endParaRPr lang="en-US" i="1">
              <a:cs typeface="Calibri Light"/>
            </a:endParaRPr>
          </a:p>
          <a:p>
            <a:pPr marL="4445"/>
            <a:endParaRPr lang="en-US">
              <a:cs typeface="Calibri Light"/>
            </a:endParaRPr>
          </a:p>
        </p:txBody>
      </p:sp>
      <p:sp>
        <p:nvSpPr>
          <p:cNvPr id="5" name="Slide Number Placeholder 4">
            <a:extLst>
              <a:ext uri="{FF2B5EF4-FFF2-40B4-BE49-F238E27FC236}">
                <a16:creationId xmlns:a16="http://schemas.microsoft.com/office/drawing/2014/main" id="{031A5F53-F75F-3A4C-86EF-8F17F3995107}"/>
              </a:ext>
            </a:extLst>
          </p:cNvPr>
          <p:cNvSpPr>
            <a:spLocks noGrp="1"/>
          </p:cNvSpPr>
          <p:nvPr>
            <p:ph type="sldNum" sz="quarter" idx="4"/>
          </p:nvPr>
        </p:nvSpPr>
        <p:spPr/>
        <p:txBody>
          <a:bodyPr/>
          <a:lstStyle/>
          <a:p>
            <a:fld id="{8893C2FB-EF86-FD49-89EB-659751C15892}" type="slidenum">
              <a:rPr lang="en-US" smtClean="0"/>
              <a:t>28</a:t>
            </a:fld>
            <a:endParaRPr lang="en-US"/>
          </a:p>
        </p:txBody>
      </p:sp>
      <p:sp>
        <p:nvSpPr>
          <p:cNvPr id="8" name="Rectangle 7">
            <a:extLst>
              <a:ext uri="{FF2B5EF4-FFF2-40B4-BE49-F238E27FC236}">
                <a16:creationId xmlns:a16="http://schemas.microsoft.com/office/drawing/2014/main" id="{C12EB6CD-C714-4922-1388-35729F09706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9" name="Picture 8" descr="Text  Description automatically generated">
            <a:extLst>
              <a:ext uri="{FF2B5EF4-FFF2-40B4-BE49-F238E27FC236}">
                <a16:creationId xmlns:a16="http://schemas.microsoft.com/office/drawing/2014/main" id="{61B33F49-54C8-BF3B-A3A1-D1614056B33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6" name="TextBox 5">
            <a:extLst>
              <a:ext uri="{FF2B5EF4-FFF2-40B4-BE49-F238E27FC236}">
                <a16:creationId xmlns:a16="http://schemas.microsoft.com/office/drawing/2014/main" id="{13E8FC40-0B31-F231-63AD-89B6AE3C938A}"/>
              </a:ext>
            </a:extLst>
          </p:cNvPr>
          <p:cNvSpPr txBox="1"/>
          <p:nvPr/>
        </p:nvSpPr>
        <p:spPr>
          <a:xfrm>
            <a:off x="5111965" y="2041076"/>
            <a:ext cx="6022731" cy="2246769"/>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 </a:t>
            </a:r>
            <a:r>
              <a:rPr lang="en-US" err="1"/>
              <a:t>Obtenez</a:t>
            </a:r>
            <a:r>
              <a:t> </a:t>
            </a:r>
            <a:r>
              <a:rPr lang="en-US" err="1"/>
              <a:t>toute</a:t>
            </a:r>
            <a:r>
              <a:t> </a:t>
            </a:r>
            <a:r>
              <a:rPr lang="en-US" err="1"/>
              <a:t>l’éducation</a:t>
            </a:r>
            <a:r>
              <a:t> que </a:t>
            </a:r>
            <a:r>
              <a:rPr lang="en-US" err="1"/>
              <a:t>vous</a:t>
            </a:r>
            <a:r>
              <a:t> </a:t>
            </a:r>
            <a:r>
              <a:rPr lang="en-US" err="1"/>
              <a:t>pouvez</a:t>
            </a:r>
            <a:r>
              <a:t>. Pour nous, saints des </a:t>
            </a:r>
            <a:r>
              <a:rPr lang="en-US" err="1"/>
              <a:t>derniers</a:t>
            </a:r>
            <a:r>
              <a:t> </a:t>
            </a:r>
            <a:r>
              <a:rPr lang="en-US" err="1"/>
              <a:t>jours</a:t>
            </a:r>
            <a:r>
              <a:t>, </a:t>
            </a:r>
            <a:r>
              <a:rPr lang="en-US" err="1"/>
              <a:t>recevoir</a:t>
            </a:r>
            <a:r>
              <a:t> </a:t>
            </a:r>
            <a:r>
              <a:rPr lang="en-US" err="1"/>
              <a:t>une</a:t>
            </a:r>
            <a:r>
              <a:t> </a:t>
            </a:r>
            <a:r>
              <a:rPr lang="en-US" err="1"/>
              <a:t>éducation</a:t>
            </a:r>
            <a:r>
              <a:t> </a:t>
            </a:r>
            <a:r>
              <a:rPr lang="en-US" err="1"/>
              <a:t>n’est</a:t>
            </a:r>
            <a:r>
              <a:t> pas </a:t>
            </a:r>
            <a:r>
              <a:rPr lang="en-US" err="1"/>
              <a:t>seulement</a:t>
            </a:r>
            <a:r>
              <a:t> un </a:t>
            </a:r>
            <a:r>
              <a:rPr lang="en-US" err="1"/>
              <a:t>privilège</a:t>
            </a:r>
            <a:r>
              <a:t>, </a:t>
            </a:r>
            <a:r>
              <a:rPr lang="en-US" err="1"/>
              <a:t>c’est</a:t>
            </a:r>
            <a:r>
              <a:t> </a:t>
            </a:r>
            <a:r>
              <a:rPr lang="en-US" err="1"/>
              <a:t>une</a:t>
            </a:r>
            <a:r>
              <a:t> </a:t>
            </a:r>
            <a:r>
              <a:rPr lang="en-US" err="1"/>
              <a:t>responsabilité</a:t>
            </a:r>
            <a:r>
              <a:t> religieuse.</a:t>
            </a:r>
            <a:r>
              <a:rPr lang="en-US"/>
              <a:t> </a:t>
            </a:r>
            <a:r>
              <a:rPr lang="en-US">
                <a:cs typeface="Calibri Light"/>
              </a:rPr>
              <a:t>»</a:t>
            </a:r>
            <a:endParaRPr lang="en-US">
              <a:latin typeface="Calibri Light"/>
            </a:endParaRPr>
          </a:p>
        </p:txBody>
      </p:sp>
      <p:pic>
        <p:nvPicPr>
          <p:cNvPr id="3" name="Picture Placeholder 6" descr="A person in a suit and tie  Description automatically generated">
            <a:extLst>
              <a:ext uri="{FF2B5EF4-FFF2-40B4-BE49-F238E27FC236}">
                <a16:creationId xmlns:a16="http://schemas.microsoft.com/office/drawing/2014/main" id="{37F7F11C-DF47-5D8F-B863-0DB9B3377F44}"/>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949407" y="963936"/>
            <a:ext cx="3534234" cy="4930128"/>
          </a:xfrm>
          <a:prstGeom prst="rect">
            <a:avLst/>
          </a:prstGeom>
        </p:spPr>
      </p:pic>
    </p:spTree>
    <p:extLst>
      <p:ext uri="{BB962C8B-B14F-4D97-AF65-F5344CB8AC3E}">
        <p14:creationId xmlns:p14="http://schemas.microsoft.com/office/powerpoint/2010/main" val="132533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in the air  Description automatically generated with low confidence">
            <a:extLst>
              <a:ext uri="{FF2B5EF4-FFF2-40B4-BE49-F238E27FC236}">
                <a16:creationId xmlns:a16="http://schemas.microsoft.com/office/drawing/2014/main" id="{0C24D7C2-3DDE-38EC-8DA6-B2742EF299B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37200" cy="6858000"/>
          </a:xfrm>
          <a:prstGeom prst="rect">
            <a:avLst/>
          </a:prstGeom>
        </p:spPr>
      </p:pic>
      <p:sp>
        <p:nvSpPr>
          <p:cNvPr id="7" name="Rectangle 6">
            <a:extLst>
              <a:ext uri="{FF2B5EF4-FFF2-40B4-BE49-F238E27FC236}">
                <a16:creationId xmlns:a16="http://schemas.microsoft.com/office/drawing/2014/main" id="{68132E28-F006-C04A-B3E1-A5C743809351}"/>
              </a:ext>
            </a:extLst>
          </p:cNvPr>
          <p:cNvSpPr/>
          <p:nvPr/>
        </p:nvSpPr>
        <p:spPr>
          <a:xfrm>
            <a:off x="7031157" y="4045309"/>
            <a:ext cx="4013185" cy="1808345"/>
          </a:xfrm>
          <a:prstGeom prst="rect">
            <a:avLst/>
          </a:prstGeom>
          <a:solidFill>
            <a:schemeClr val="bg1"/>
          </a:solidFill>
          <a:ln>
            <a:noFill/>
          </a:ln>
          <a:effectLst>
            <a:outerShdw blurRad="267781" dist="113238"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2" name="Text Placeholder 1">
            <a:extLst>
              <a:ext uri="{FF2B5EF4-FFF2-40B4-BE49-F238E27FC236}">
                <a16:creationId xmlns:a16="http://schemas.microsoft.com/office/drawing/2014/main" id="{7A1C276B-2A33-C049-AEF8-5AF88AD11664}"/>
              </a:ext>
            </a:extLst>
          </p:cNvPr>
          <p:cNvSpPr txBox="1">
            <a:spLocks/>
          </p:cNvSpPr>
          <p:nvPr/>
        </p:nvSpPr>
        <p:spPr>
          <a:xfrm>
            <a:off x="5604045" y="713806"/>
            <a:ext cx="5096496" cy="616404"/>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4400">
                <a:latin typeface="+mj-lt"/>
              </a:defRPr>
            </a:pPr>
            <a:r>
              <a:rPr lang="en-US" err="1"/>
              <a:t>Obtenir</a:t>
            </a:r>
            <a:r>
              <a:t> un </a:t>
            </a:r>
            <a:r>
              <a:rPr lang="en-US" err="1"/>
              <a:t>diplôme</a:t>
            </a:r>
            <a:r>
              <a:t> </a:t>
            </a:r>
            <a:r>
              <a:rPr i="1"/>
              <a:t>et</a:t>
            </a:r>
            <a:r>
              <a:rPr lang="en-US"/>
              <a:t> faire </a:t>
            </a:r>
            <a:r>
              <a:rPr lang="en-US" err="1"/>
              <a:t>grandir</a:t>
            </a:r>
            <a:r>
              <a:rPr lang="en-US"/>
              <a:t> </a:t>
            </a:r>
            <a:r>
              <a:rPr lang="en-US" err="1"/>
              <a:t>sa</a:t>
            </a:r>
            <a:r>
              <a:rPr lang="en-US"/>
              <a:t> </a:t>
            </a:r>
            <a:r>
              <a:rPr lang="en-US" err="1"/>
              <a:t>foi</a:t>
            </a:r>
            <a:endParaRPr lang="en-US" err="1">
              <a:cs typeface="Calibri Light"/>
            </a:endParaRPr>
          </a:p>
        </p:txBody>
      </p:sp>
      <p:sp>
        <p:nvSpPr>
          <p:cNvPr id="3" name="Rectangle 2">
            <a:extLst>
              <a:ext uri="{FF2B5EF4-FFF2-40B4-BE49-F238E27FC236}">
                <a16:creationId xmlns:a16="http://schemas.microsoft.com/office/drawing/2014/main" id="{2198D0CB-A244-3645-93EF-5E47B40A5F95}"/>
              </a:ext>
            </a:extLst>
          </p:cNvPr>
          <p:cNvSpPr/>
          <p:nvPr/>
        </p:nvSpPr>
        <p:spPr>
          <a:xfrm>
            <a:off x="5637983" y="2139900"/>
            <a:ext cx="5327017" cy="1190967"/>
          </a:xfrm>
          <a:prstGeom prst="rect">
            <a:avLst/>
          </a:prstGeom>
        </p:spPr>
        <p:txBody>
          <a:bodyPr wrap="square" lIns="91440" tIns="45720" rIns="91440" bIns="45720" anchor="t">
            <a:spAutoFit/>
          </a:bodyPr>
          <a:lstStyle/>
          <a:p>
            <a:pPr>
              <a:lnSpc>
                <a:spcPct val="110000"/>
              </a:lnSpc>
              <a:defRPr sz="2200"/>
            </a:pPr>
            <a:r>
              <a:t>Les </a:t>
            </a:r>
            <a:r>
              <a:rPr lang="en-US" err="1"/>
              <a:t>cours</a:t>
            </a:r>
            <a:r>
              <a:t> </a:t>
            </a:r>
            <a:r>
              <a:rPr lang="en-US" err="1"/>
              <a:t>incorporent</a:t>
            </a:r>
            <a:r>
              <a:t> des </a:t>
            </a:r>
            <a:r>
              <a:rPr lang="en-US" err="1"/>
              <a:t>enseignements</a:t>
            </a:r>
            <a:r>
              <a:t> </a:t>
            </a:r>
            <a:r>
              <a:rPr lang="en-US" err="1"/>
              <a:t>tirés</a:t>
            </a:r>
            <a:r>
              <a:t> des </a:t>
            </a:r>
            <a:r>
              <a:rPr lang="en-US" err="1"/>
              <a:t>Écritures</a:t>
            </a:r>
            <a:r>
              <a:rPr lang="en-US"/>
              <a:t>, des</a:t>
            </a:r>
            <a:r>
              <a:t> </a:t>
            </a:r>
            <a:r>
              <a:rPr lang="en-US" err="1"/>
              <a:t>prophètes</a:t>
            </a:r>
            <a:r>
              <a:t> et </a:t>
            </a:r>
            <a:r>
              <a:rPr lang="en-US"/>
              <a:t>des </a:t>
            </a:r>
            <a:r>
              <a:rPr lang="en-US" err="1"/>
              <a:t>apôtres</a:t>
            </a:r>
            <a:r>
              <a:t> </a:t>
            </a:r>
            <a:r>
              <a:rPr lang="en-US" err="1"/>
              <a:t>modernes</a:t>
            </a:r>
            <a:r>
              <a:t>.</a:t>
            </a:r>
          </a:p>
        </p:txBody>
      </p:sp>
      <p:graphicFrame>
        <p:nvGraphicFramePr>
          <p:cNvPr id="4" name="Chart 3">
            <a:extLst>
              <a:ext uri="{FF2B5EF4-FFF2-40B4-BE49-F238E27FC236}">
                <a16:creationId xmlns:a16="http://schemas.microsoft.com/office/drawing/2014/main" id="{E37CED92-DBCC-1640-8DAC-D345BD6E21EC}"/>
              </a:ext>
            </a:extLst>
          </p:cNvPr>
          <p:cNvGraphicFramePr/>
          <p:nvPr/>
        </p:nvGraphicFramePr>
        <p:xfrm>
          <a:off x="3637519" y="3398138"/>
          <a:ext cx="4803515" cy="3202344"/>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a:extLst>
              <a:ext uri="{FF2B5EF4-FFF2-40B4-BE49-F238E27FC236}">
                <a16:creationId xmlns:a16="http://schemas.microsoft.com/office/drawing/2014/main" id="{BD44D150-ABF4-D14A-BE79-37F452EC4044}"/>
              </a:ext>
            </a:extLst>
          </p:cNvPr>
          <p:cNvSpPr/>
          <p:nvPr/>
        </p:nvSpPr>
        <p:spPr>
          <a:xfrm>
            <a:off x="7632081" y="4133712"/>
            <a:ext cx="3238086" cy="1631216"/>
          </a:xfrm>
          <a:prstGeom prst="rect">
            <a:avLst/>
          </a:prstGeom>
        </p:spPr>
        <p:txBody>
          <a:bodyPr wrap="square" lIns="91440" tIns="45720" rIns="91440" bIns="45720" anchor="t">
            <a:spAutoFit/>
          </a:bodyPr>
          <a:lstStyle/>
          <a:p>
            <a:pPr>
              <a:defRPr sz="2000">
                <a:solidFill>
                  <a:schemeClr val="tx2">
                    <a:lumMod val="90000"/>
                    <a:lumOff val="10000"/>
                  </a:schemeClr>
                </a:solidFill>
              </a:defRPr>
            </a:pPr>
            <a:r>
              <a:t>des </a:t>
            </a:r>
            <a:r>
              <a:rPr lang="en-US" err="1"/>
              <a:t>élèves</a:t>
            </a:r>
            <a:r>
              <a:t> </a:t>
            </a:r>
            <a:r>
              <a:rPr lang="en-US" err="1"/>
              <a:t>disent</a:t>
            </a:r>
            <a:r>
              <a:t> que </a:t>
            </a:r>
            <a:r>
              <a:rPr lang="en-US" err="1"/>
              <a:t>leur</a:t>
            </a:r>
            <a:r>
              <a:t> participation au </a:t>
            </a:r>
            <a:r>
              <a:rPr lang="en-US"/>
              <a:t>BYU-Pathway </a:t>
            </a:r>
            <a:r>
              <a:t>a </a:t>
            </a:r>
            <a:r>
              <a:rPr lang="en-US" err="1"/>
              <a:t>augmenté</a:t>
            </a:r>
            <a:r>
              <a:t> </a:t>
            </a:r>
            <a:r>
              <a:rPr lang="en-US" err="1"/>
              <a:t>leur</a:t>
            </a:r>
            <a:r>
              <a:t> </a:t>
            </a:r>
            <a:r>
              <a:rPr lang="en-US" err="1"/>
              <a:t>foi</a:t>
            </a:r>
            <a:r>
              <a:t> et </a:t>
            </a:r>
            <a:r>
              <a:rPr lang="en-US" err="1"/>
              <a:t>leur</a:t>
            </a:r>
            <a:r>
              <a:t> </a:t>
            </a:r>
            <a:r>
              <a:rPr lang="en-US" err="1"/>
              <a:t>témoignage</a:t>
            </a:r>
            <a:r>
              <a:t> du Sauveur.</a:t>
            </a:r>
          </a:p>
        </p:txBody>
      </p:sp>
      <p:sp>
        <p:nvSpPr>
          <p:cNvPr id="10" name="TextBox 9">
            <a:extLst>
              <a:ext uri="{FF2B5EF4-FFF2-40B4-BE49-F238E27FC236}">
                <a16:creationId xmlns:a16="http://schemas.microsoft.com/office/drawing/2014/main" id="{1C74E7AF-188C-AF4F-968A-A0D4F902100F}"/>
              </a:ext>
            </a:extLst>
          </p:cNvPr>
          <p:cNvSpPr txBox="1"/>
          <p:nvPr/>
        </p:nvSpPr>
        <p:spPr>
          <a:xfrm>
            <a:off x="5458387" y="4484931"/>
            <a:ext cx="1337226" cy="1015663"/>
          </a:xfrm>
          <a:prstGeom prst="rect">
            <a:avLst/>
          </a:prstGeom>
          <a:noFill/>
        </p:spPr>
        <p:txBody>
          <a:bodyPr wrap="none">
            <a:spAutoFit/>
          </a:bodyPr>
          <a:lstStyle/>
          <a:p>
            <a:pPr>
              <a:defRPr sz="6000" b="1">
                <a:solidFill>
                  <a:schemeClr val="tx2"/>
                </a:solidFill>
              </a:defRPr>
            </a:pPr>
            <a:r>
              <a:t>91 </a:t>
            </a:r>
            <a:r>
              <a:rPr baseline="30000"/>
              <a:t>%</a:t>
            </a:r>
          </a:p>
        </p:txBody>
      </p:sp>
      <p:sp>
        <p:nvSpPr>
          <p:cNvPr id="13" name="Slide Number Placeholder 3">
            <a:extLst>
              <a:ext uri="{FF2B5EF4-FFF2-40B4-BE49-F238E27FC236}">
                <a16:creationId xmlns:a16="http://schemas.microsoft.com/office/drawing/2014/main" id="{F8E096EE-E63F-BE4A-B6D5-A6E2C2504AF8}"/>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2</a:t>
            </a:fld>
            <a:endParaRPr lang="en-US"/>
          </a:p>
        </p:txBody>
      </p:sp>
      <p:sp>
        <p:nvSpPr>
          <p:cNvPr id="9" name="Rectangle 8">
            <a:extLst>
              <a:ext uri="{FF2B5EF4-FFF2-40B4-BE49-F238E27FC236}">
                <a16:creationId xmlns:a16="http://schemas.microsoft.com/office/drawing/2014/main" id="{26D66543-65E8-8415-9DC1-D9C573BBB2BC}"/>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1" name="Picture 10" descr="Text  Description automatically generated">
            <a:extLst>
              <a:ext uri="{FF2B5EF4-FFF2-40B4-BE49-F238E27FC236}">
                <a16:creationId xmlns:a16="http://schemas.microsoft.com/office/drawing/2014/main" id="{21E8DC26-5179-2706-5334-776F7116AB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Tree>
    <p:extLst>
      <p:ext uri="{BB962C8B-B14F-4D97-AF65-F5344CB8AC3E}">
        <p14:creationId xmlns:p14="http://schemas.microsoft.com/office/powerpoint/2010/main" val="66576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E930817-215B-7666-798F-4C742D3F2B62}"/>
              </a:ext>
            </a:extLst>
          </p:cNvPr>
          <p:cNvSpPr/>
          <p:nvPr/>
        </p:nvSpPr>
        <p:spPr>
          <a:xfrm>
            <a:off x="-270165" y="-166255"/>
            <a:ext cx="12732327" cy="71905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5" name="TextBox 4">
            <a:extLst>
              <a:ext uri="{FF2B5EF4-FFF2-40B4-BE49-F238E27FC236}">
                <a16:creationId xmlns:a16="http://schemas.microsoft.com/office/drawing/2014/main" id="{EB47A480-43D0-6FE7-DBC1-83ADF87B0CF0}"/>
              </a:ext>
            </a:extLst>
          </p:cNvPr>
          <p:cNvSpPr txBox="1"/>
          <p:nvPr/>
        </p:nvSpPr>
        <p:spPr>
          <a:xfrm>
            <a:off x="3983990" y="5130800"/>
            <a:ext cx="4224020" cy="769441"/>
          </a:xfrm>
          <a:prstGeom prst="rect">
            <a:avLst/>
          </a:prstGeom>
          <a:noFill/>
        </p:spPr>
        <p:txBody>
          <a:bodyPr wrap="square">
            <a:spAutoFit/>
          </a:bodyPr>
          <a:lstStyle/>
          <a:p>
            <a:pPr algn="ctr">
              <a:defRPr sz="4400" b="1" i="1" spc="50">
                <a:solidFill>
                  <a:srgbClr val="45453F"/>
                </a:solidFill>
                <a:latin typeface="+mj-lt"/>
              </a:defRPr>
            </a:pPr>
            <a:r>
              <a:t>byupathway.org</a:t>
            </a:r>
            <a:endParaRPr lang="en-US" sz="4400" b="1" i="1" spc="50">
              <a:solidFill>
                <a:srgbClr val="45453F"/>
              </a:solidFill>
              <a:latin typeface="+mj-lt"/>
            </a:endParaRPr>
          </a:p>
        </p:txBody>
      </p:sp>
      <p:pic>
        <p:nvPicPr>
          <p:cNvPr id="9" name="Picture 8" descr="Text  Description automatically generated">
            <a:extLst>
              <a:ext uri="{FF2B5EF4-FFF2-40B4-BE49-F238E27FC236}">
                <a16:creationId xmlns:a16="http://schemas.microsoft.com/office/drawing/2014/main" id="{D123098F-1B08-4244-C5A8-F915E82360A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04862" y="2131813"/>
            <a:ext cx="3182273" cy="1991957"/>
          </a:xfrm>
          <a:prstGeom prst="rect">
            <a:avLst/>
          </a:prstGeom>
        </p:spPr>
      </p:pic>
    </p:spTree>
    <p:extLst>
      <p:ext uri="{BB962C8B-B14F-4D97-AF65-F5344CB8AC3E}">
        <p14:creationId xmlns:p14="http://schemas.microsoft.com/office/powerpoint/2010/main" val="464030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What is BYU-Pathway.mp4" descr="What is BYU-Pathway.mp4">
            <a:hlinkClick r:id="" action="ppaction://media"/>
            <a:extLst>
              <a:ext uri="{FF2B5EF4-FFF2-40B4-BE49-F238E27FC236}">
                <a16:creationId xmlns:a16="http://schemas.microsoft.com/office/drawing/2014/main" id="{A32AAF62-A302-D34D-A999-9A7ABF22F7F2}"/>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0" y="0"/>
            <a:ext cx="12192000" cy="6858000"/>
          </a:xfrm>
          <a:prstGeom prst="rect">
            <a:avLst/>
          </a:prstGeom>
        </p:spPr>
      </p:pic>
      <p:sp>
        <p:nvSpPr>
          <p:cNvPr id="5" name="Triangle 4">
            <a:extLst>
              <a:ext uri="{FF2B5EF4-FFF2-40B4-BE49-F238E27FC236}">
                <a16:creationId xmlns:a16="http://schemas.microsoft.com/office/drawing/2014/main" id="{270E3A0C-3B09-9F46-BFF6-5784E194DBBB}"/>
              </a:ext>
            </a:extLst>
          </p:cNvPr>
          <p:cNvSpPr/>
          <p:nvPr/>
        </p:nvSpPr>
        <p:spPr>
          <a:xfrm rot="5400000">
            <a:off x="5632450" y="2823936"/>
            <a:ext cx="927100" cy="8509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6" name="Rectangle 5">
            <a:extLst>
              <a:ext uri="{FF2B5EF4-FFF2-40B4-BE49-F238E27FC236}">
                <a16:creationId xmlns:a16="http://schemas.microsoft.com/office/drawing/2014/main" id="{38CDA766-A8E2-574E-A2B3-C6AF89A2092F}"/>
              </a:ext>
            </a:extLst>
          </p:cNvPr>
          <p:cNvSpPr/>
          <p:nvPr/>
        </p:nvSpPr>
        <p:spPr>
          <a:xfrm>
            <a:off x="0" y="615677"/>
            <a:ext cx="5347063" cy="947058"/>
          </a:xfrm>
          <a:prstGeom prst="rect">
            <a:avLst/>
          </a:prstGeom>
          <a:solidFill>
            <a:schemeClr val="tx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7" name="Text Placeholder 2">
            <a:extLst>
              <a:ext uri="{FF2B5EF4-FFF2-40B4-BE49-F238E27FC236}">
                <a16:creationId xmlns:a16="http://schemas.microsoft.com/office/drawing/2014/main" id="{298BE645-7BD3-584B-967F-C6BFDCFFF150}"/>
              </a:ext>
            </a:extLst>
          </p:cNvPr>
          <p:cNvSpPr txBox="1">
            <a:spLocks/>
          </p:cNvSpPr>
          <p:nvPr/>
        </p:nvSpPr>
        <p:spPr>
          <a:xfrm>
            <a:off x="156337" y="861109"/>
            <a:ext cx="5377447" cy="455612"/>
          </a:xfrm>
          <a:prstGeom prst="rect">
            <a:avLst/>
          </a:prstGeom>
        </p:spPr>
        <p:txBody>
          <a:bodyPr vert="horz" lIns="91440" tIns="45720" rIns="91440" bIns="45720">
            <a:normAutofit lnSpcReduction="1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2800" b="1" spc="90">
                <a:solidFill>
                  <a:schemeClr val="bg1"/>
                </a:solidFill>
              </a:defRPr>
            </a:pPr>
            <a:r>
              <a:t>QU’EST-CE QUE BYU-PATHWAY?</a:t>
            </a:r>
          </a:p>
        </p:txBody>
      </p:sp>
    </p:spTree>
    <p:extLst>
      <p:ext uri="{BB962C8B-B14F-4D97-AF65-F5344CB8AC3E}">
        <p14:creationId xmlns:p14="http://schemas.microsoft.com/office/powerpoint/2010/main" val="392624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06172" fill="hold"/>
                                        <p:tgtEl>
                                          <p:spTgt spid="2"/>
                                        </p:tgtEl>
                                      </p:cBhvr>
                                    </p:cmd>
                                  </p:childTnLst>
                                </p:cTn>
                              </p:par>
                              <p:par>
                                <p:cTn id="7" presetID="10" presetClass="exit" presetSubtype="0" fill="hold" grpId="0" nodeType="withEffect">
                                  <p:stCondLst>
                                    <p:cond delay="0"/>
                                  </p:stCondLst>
                                  <p:childTnLst>
                                    <p:animEffect transition="out" filter="fade">
                                      <p:cBhvr>
                                        <p:cTn id="8" dur="500"/>
                                        <p:tgtEl>
                                          <p:spTgt spid="5"/>
                                        </p:tgtEl>
                                      </p:cBhvr>
                                    </p:animEffect>
                                    <p:set>
                                      <p:cBhvr>
                                        <p:cTn id="9" dur="1" fill="hold">
                                          <p:stCondLst>
                                            <p:cond delay="499"/>
                                          </p:stCondLst>
                                        </p:cTn>
                                        <p:tgtEl>
                                          <p:spTgt spid="5"/>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par>
                                <p:cTn id="13" presetID="10" presetClass="exit" presetSubtype="0" fill="hold" grpId="0" nodeType="withEffect">
                                  <p:stCondLst>
                                    <p:cond delay="0"/>
                                  </p:stCondLst>
                                  <p:childTnLst>
                                    <p:animEffect transition="out" filter="fade">
                                      <p:cBhvr>
                                        <p:cTn id="14" dur="500"/>
                                        <p:tgtEl>
                                          <p:spTgt spid="6"/>
                                        </p:tgtEl>
                                      </p:cBhvr>
                                    </p:animEffect>
                                    <p:set>
                                      <p:cBhvr>
                                        <p:cTn id="15"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6" fill="hold" display="0">
                  <p:stCondLst>
                    <p:cond delay="indefinite"/>
                  </p:stCondLst>
                </p:cTn>
                <p:tgtEl>
                  <p:spTgt spid="2"/>
                </p:tgtEl>
              </p:cMediaNode>
            </p:video>
          </p:childTnLst>
        </p:cTn>
      </p:par>
    </p:tnLst>
    <p:bldLst>
      <p:bldP spid="5" grpId="0" animBg="1"/>
      <p:bldP spid="6" grpId="0" animBg="1"/>
      <p:bldP spid="7" grpId="0"/>
    </p:bldLst>
  </p:timing>
  <p:extLst>
    <p:ext uri="{6950BFC3-D8DA-4A85-94F7-54DA5524770B}">
      <p188:commentRel xmlns:p188="http://schemas.microsoft.com/office/powerpoint/2018/8/main" r:id="rId5"/>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E89279B5-7865-D045-93E1-B805478CAF9D}"/>
              </a:ext>
            </a:extLst>
          </p:cNvPr>
          <p:cNvSpPr/>
          <p:nvPr/>
        </p:nvSpPr>
        <p:spPr>
          <a:xfrm>
            <a:off x="8952" y="3490783"/>
            <a:ext cx="12192000" cy="336721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3" name="Content Placeholder 2">
            <a:extLst>
              <a:ext uri="{FF2B5EF4-FFF2-40B4-BE49-F238E27FC236}">
                <a16:creationId xmlns:a16="http://schemas.microsoft.com/office/drawing/2014/main" id="{CFBE50DD-0699-3A41-8108-252B9BA13CE9}"/>
              </a:ext>
            </a:extLst>
          </p:cNvPr>
          <p:cNvSpPr>
            <a:spLocks noGrp="1"/>
          </p:cNvSpPr>
          <p:nvPr>
            <p:ph sz="quarter" idx="4294967295"/>
          </p:nvPr>
        </p:nvSpPr>
        <p:spPr>
          <a:xfrm>
            <a:off x="640080" y="801758"/>
            <a:ext cx="8856049" cy="757238"/>
          </a:xfrm>
        </p:spPr>
        <p:txBody>
          <a:bodyPr>
            <a:normAutofit/>
          </a:bodyPr>
          <a:lstStyle/>
          <a:p>
            <a:pPr marL="0" indent="0">
              <a:lnSpc>
                <a:spcPct val="100000"/>
              </a:lnSpc>
              <a:buNone/>
              <a:defRPr sz="2000"/>
            </a:pPr>
            <a:r>
              <a:t>BYU-Pathway Worldwide a été fondée et est soutenue et guidée par l’Église de Jésus-Christ des Saints des Derniers Jours.</a:t>
            </a:r>
          </a:p>
          <a:p>
            <a:pPr marL="0" lvl="0" indent="0">
              <a:buNone/>
            </a:pPr>
            <a:endParaRPr lang="en-US" sz="2000"/>
          </a:p>
        </p:txBody>
      </p:sp>
      <p:sp>
        <p:nvSpPr>
          <p:cNvPr id="4" name="Slide Number Placeholder 3">
            <a:extLst>
              <a:ext uri="{FF2B5EF4-FFF2-40B4-BE49-F238E27FC236}">
                <a16:creationId xmlns:a16="http://schemas.microsoft.com/office/drawing/2014/main" id="{4B5950C2-CF2E-EA4E-8AA7-77CD0DE0D03F}"/>
              </a:ext>
            </a:extLst>
          </p:cNvPr>
          <p:cNvSpPr>
            <a:spLocks noGrp="1"/>
          </p:cNvSpPr>
          <p:nvPr>
            <p:ph type="sldNum" sz="quarter" idx="4294967295"/>
          </p:nvPr>
        </p:nvSpPr>
        <p:spPr>
          <a:xfrm>
            <a:off x="8796528" y="6356350"/>
            <a:ext cx="2743200" cy="365125"/>
          </a:xfrm>
        </p:spPr>
        <p:txBody>
          <a:bodyPr/>
          <a:lstStyle/>
          <a:p>
            <a:fld id="{8893C2FB-EF86-FD49-89EB-659751C15892}" type="slidenum">
              <a:rPr lang="en-US" smtClean="0"/>
              <a:t>31</a:t>
            </a:fld>
            <a:endParaRPr lang="en-US"/>
          </a:p>
        </p:txBody>
      </p:sp>
      <p:sp>
        <p:nvSpPr>
          <p:cNvPr id="6" name="TextBox 5">
            <a:extLst>
              <a:ext uri="{FF2B5EF4-FFF2-40B4-BE49-F238E27FC236}">
                <a16:creationId xmlns:a16="http://schemas.microsoft.com/office/drawing/2014/main" id="{64F58FE6-2E56-F44F-B50A-3F34112A58D4}"/>
              </a:ext>
            </a:extLst>
          </p:cNvPr>
          <p:cNvSpPr txBox="1"/>
          <p:nvPr/>
        </p:nvSpPr>
        <p:spPr>
          <a:xfrm>
            <a:off x="11327130" y="640080"/>
            <a:ext cx="184731" cy="369332"/>
          </a:xfrm>
          <a:prstGeom prst="rect">
            <a:avLst/>
          </a:prstGeom>
          <a:noFill/>
        </p:spPr>
        <p:txBody>
          <a:bodyPr wrap="none">
            <a:spAutoFit/>
          </a:bodyPr>
          <a:lstStyle/>
          <a:p>
            <a:endParaRPr lang="en-US"/>
          </a:p>
        </p:txBody>
      </p:sp>
      <p:sp>
        <p:nvSpPr>
          <p:cNvPr id="7" name="Content Placeholder 2">
            <a:extLst>
              <a:ext uri="{FF2B5EF4-FFF2-40B4-BE49-F238E27FC236}">
                <a16:creationId xmlns:a16="http://schemas.microsoft.com/office/drawing/2014/main" id="{2CD8C5D8-D759-764A-8FA6-7D35B2389EB1}"/>
              </a:ext>
            </a:extLst>
          </p:cNvPr>
          <p:cNvSpPr txBox="1">
            <a:spLocks/>
          </p:cNvSpPr>
          <p:nvPr/>
        </p:nvSpPr>
        <p:spPr>
          <a:xfrm>
            <a:off x="634952" y="1926867"/>
            <a:ext cx="11102306" cy="1132554"/>
          </a:xfrm>
          <a:prstGeom prst="rect">
            <a:avLst/>
          </a:prstGeom>
        </p:spPr>
        <p:txBody>
          <a:bodyPr vert="horz" lIns="91440" tIns="45720" rIns="91440" bIns="45720">
            <a:norm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defRPr sz="3200" i="1">
                <a:solidFill>
                  <a:srgbClr val="F9C608"/>
                </a:solidFill>
                <a:latin typeface="Palatino" pitchFamily="2" charset="77"/>
                <a:ea typeface="Palatino" pitchFamily="2" charset="77"/>
              </a:defRPr>
            </a:pPr>
            <a:r>
              <a:t>Sa mission est de former des disciples de Jésus-Christ qui sont des leaders dans leur foyer, dans l’Église et dans leur communauté.</a:t>
            </a:r>
          </a:p>
          <a:p>
            <a:pPr marL="0" indent="0">
              <a:lnSpc>
                <a:spcPct val="100000"/>
              </a:lnSpc>
              <a:buFont typeface="Arial"/>
              <a:buNone/>
            </a:pPr>
            <a:endParaRPr lang="en-US" sz="2000" i="1">
              <a:solidFill>
                <a:schemeClr val="tx2">
                  <a:lumMod val="90000"/>
                  <a:lumOff val="10000"/>
                </a:schemeClr>
              </a:solidFill>
            </a:endParaRPr>
          </a:p>
        </p:txBody>
      </p:sp>
      <p:sp>
        <p:nvSpPr>
          <p:cNvPr id="8" name="Content Placeholder 2">
            <a:extLst>
              <a:ext uri="{FF2B5EF4-FFF2-40B4-BE49-F238E27FC236}">
                <a16:creationId xmlns:a16="http://schemas.microsoft.com/office/drawing/2014/main" id="{DBCEA2A6-37A2-EE4F-916C-1C105125B95B}"/>
              </a:ext>
            </a:extLst>
          </p:cNvPr>
          <p:cNvSpPr txBox="1">
            <a:spLocks/>
          </p:cNvSpPr>
          <p:nvPr/>
        </p:nvSpPr>
        <p:spPr>
          <a:xfrm>
            <a:off x="651975" y="3813822"/>
            <a:ext cx="10888050" cy="344169"/>
          </a:xfrm>
          <a:prstGeom prst="rect">
            <a:avLst/>
          </a:prstGeom>
        </p:spPr>
        <p:txBody>
          <a:bodyPr vert="horz" lIns="91440" tIns="45720" rIns="91440" bIns="45720">
            <a:normAutofit lnSpcReduction="1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000" b="1" spc="70"/>
            </a:pPr>
            <a:r>
              <a:t>ÉTUDIANTS QUI PARTICIPENT À BYU-PATHWAY DANS LE MONDE ENTIER:</a:t>
            </a:r>
          </a:p>
          <a:p>
            <a:pPr marL="0" indent="0">
              <a:buFont typeface="Arial"/>
              <a:buNone/>
            </a:pPr>
            <a:endParaRPr lang="en-US" sz="2000" b="1" spc="70"/>
          </a:p>
        </p:txBody>
      </p:sp>
      <p:grpSp>
        <p:nvGrpSpPr>
          <p:cNvPr id="10" name="Group 9">
            <a:extLst>
              <a:ext uri="{FF2B5EF4-FFF2-40B4-BE49-F238E27FC236}">
                <a16:creationId xmlns:a16="http://schemas.microsoft.com/office/drawing/2014/main" id="{5610CB5B-3D7A-7B41-84CD-5A9624E4D204}"/>
              </a:ext>
            </a:extLst>
          </p:cNvPr>
          <p:cNvGrpSpPr/>
          <p:nvPr/>
        </p:nvGrpSpPr>
        <p:grpSpPr>
          <a:xfrm>
            <a:off x="5138057" y="4506033"/>
            <a:ext cx="1950427" cy="1706918"/>
            <a:chOff x="4968135" y="4394061"/>
            <a:chExt cx="1950427" cy="1706918"/>
          </a:xfrm>
        </p:grpSpPr>
        <p:sp>
          <p:nvSpPr>
            <p:cNvPr id="13" name="Content Placeholder 2">
              <a:extLst>
                <a:ext uri="{FF2B5EF4-FFF2-40B4-BE49-F238E27FC236}">
                  <a16:creationId xmlns:a16="http://schemas.microsoft.com/office/drawing/2014/main" id="{214F4EDA-9E65-7A44-8530-C208ED9530BB}"/>
                </a:ext>
              </a:extLst>
            </p:cNvPr>
            <p:cNvSpPr txBox="1">
              <a:spLocks/>
            </p:cNvSpPr>
            <p:nvPr/>
          </p:nvSpPr>
          <p:spPr>
            <a:xfrm>
              <a:off x="4968135" y="5169663"/>
              <a:ext cx="1950427" cy="931316"/>
            </a:xfrm>
            <a:prstGeom prst="rect">
              <a:avLst/>
            </a:prstGeom>
          </p:spPr>
          <p:txBody>
            <a:bodyPr vert="horz" lIns="91440" tIns="45720" rIns="91440" bIns="45720" anchor="t">
              <a:norm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2000" b="1"/>
              </a:pPr>
              <a:r>
                <a:rPr lang="en-US" err="1"/>
                <a:t>Deviennent</a:t>
              </a:r>
              <a:r>
                <a:t> des </a:t>
              </a:r>
              <a:r>
                <a:rPr err="1"/>
                <a:t>apprenants</a:t>
              </a:r>
              <a:r>
                <a:t> </a:t>
              </a:r>
              <a:r>
                <a:rPr err="1"/>
                <a:t>capables</a:t>
              </a:r>
              <a:endParaRPr lang="en-US" err="1">
                <a:cs typeface="Calibri"/>
              </a:endParaRPr>
            </a:p>
            <a:p>
              <a:pPr marL="0" indent="0">
                <a:buFont typeface="Arial"/>
                <a:buNone/>
              </a:pPr>
              <a:endParaRPr lang="en-US"/>
            </a:p>
          </p:txBody>
        </p:sp>
        <p:pic>
          <p:nvPicPr>
            <p:cNvPr id="9" name="Graphic 8">
              <a:extLst>
                <a:ext uri="{FF2B5EF4-FFF2-40B4-BE49-F238E27FC236}">
                  <a16:creationId xmlns:a16="http://schemas.microsoft.com/office/drawing/2014/main" id="{176735A7-3AE8-2247-B4CF-8DEF63CA10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03040" y="4394061"/>
              <a:ext cx="663981" cy="663981"/>
            </a:xfrm>
            <a:prstGeom prst="rect">
              <a:avLst/>
            </a:prstGeom>
          </p:spPr>
        </p:pic>
      </p:grpSp>
      <p:grpSp>
        <p:nvGrpSpPr>
          <p:cNvPr id="15" name="Group 14">
            <a:extLst>
              <a:ext uri="{FF2B5EF4-FFF2-40B4-BE49-F238E27FC236}">
                <a16:creationId xmlns:a16="http://schemas.microsoft.com/office/drawing/2014/main" id="{4E2DAB5D-21E0-4644-A661-13C16A750C4A}"/>
              </a:ext>
            </a:extLst>
          </p:cNvPr>
          <p:cNvGrpSpPr/>
          <p:nvPr/>
        </p:nvGrpSpPr>
        <p:grpSpPr>
          <a:xfrm>
            <a:off x="1485727" y="4617640"/>
            <a:ext cx="2913980" cy="1578384"/>
            <a:chOff x="1485727" y="4505668"/>
            <a:chExt cx="2913980" cy="1578384"/>
          </a:xfrm>
        </p:grpSpPr>
        <p:sp>
          <p:nvSpPr>
            <p:cNvPr id="12" name="Content Placeholder 2">
              <a:extLst>
                <a:ext uri="{FF2B5EF4-FFF2-40B4-BE49-F238E27FC236}">
                  <a16:creationId xmlns:a16="http://schemas.microsoft.com/office/drawing/2014/main" id="{C897D01E-E99D-A245-8A13-F45949F8C082}"/>
                </a:ext>
              </a:extLst>
            </p:cNvPr>
            <p:cNvSpPr txBox="1">
              <a:spLocks/>
            </p:cNvSpPr>
            <p:nvPr/>
          </p:nvSpPr>
          <p:spPr>
            <a:xfrm>
              <a:off x="1485727" y="5129798"/>
              <a:ext cx="2913980" cy="954254"/>
            </a:xfrm>
            <a:prstGeom prst="rect">
              <a:avLst/>
            </a:prstGeom>
          </p:spPr>
          <p:txBody>
            <a:bodyPr vert="horz" lIns="91440" tIns="45720" rIns="91440" bIns="45720" anchor="t">
              <a:normAutofit fontScale="925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buNone/>
                <a:defRPr b="1"/>
              </a:pPr>
              <a:r>
                <a:rPr lang="en-US"/>
                <a:t>Font</a:t>
              </a:r>
              <a:r>
                <a:t> </a:t>
              </a:r>
              <a:r>
                <a:rPr err="1"/>
                <a:t>descendre</a:t>
              </a:r>
              <a:r>
                <a:t> </a:t>
              </a:r>
              <a:r>
                <a:rPr lang="en-US" err="1"/>
                <a:t>l’Évangile</a:t>
              </a:r>
              <a:r>
                <a:t> dans </a:t>
              </a:r>
              <a:r>
                <a:rPr lang="en-US" err="1"/>
                <a:t>leurs</a:t>
              </a:r>
              <a:r>
                <a:t> </a:t>
              </a:r>
              <a:r>
                <a:rPr lang="en-US" err="1"/>
                <a:t>cœurs</a:t>
              </a:r>
              <a:endParaRPr lang="en-US" err="1">
                <a:cs typeface="Calibri"/>
              </a:endParaRPr>
            </a:p>
            <a:p>
              <a:pPr marL="0" indent="0">
                <a:lnSpc>
                  <a:spcPct val="110000"/>
                </a:lnSpc>
                <a:buFont typeface="Arial"/>
                <a:buNone/>
              </a:pPr>
              <a:endParaRPr lang="en-US"/>
            </a:p>
          </p:txBody>
        </p:sp>
        <p:pic>
          <p:nvPicPr>
            <p:cNvPr id="11" name="Graphic 10">
              <a:extLst>
                <a:ext uri="{FF2B5EF4-FFF2-40B4-BE49-F238E27FC236}">
                  <a16:creationId xmlns:a16="http://schemas.microsoft.com/office/drawing/2014/main" id="{755A6251-C87C-3141-9F9F-CDEDD75626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63808" y="4505668"/>
              <a:ext cx="556765" cy="556765"/>
            </a:xfrm>
            <a:prstGeom prst="rect">
              <a:avLst/>
            </a:prstGeom>
          </p:spPr>
        </p:pic>
      </p:grpSp>
      <p:grpSp>
        <p:nvGrpSpPr>
          <p:cNvPr id="5" name="Group 4">
            <a:extLst>
              <a:ext uri="{FF2B5EF4-FFF2-40B4-BE49-F238E27FC236}">
                <a16:creationId xmlns:a16="http://schemas.microsoft.com/office/drawing/2014/main" id="{FBA07934-62AC-294C-BDC6-410FB47BE9C4}"/>
              </a:ext>
            </a:extLst>
          </p:cNvPr>
          <p:cNvGrpSpPr/>
          <p:nvPr/>
        </p:nvGrpSpPr>
        <p:grpSpPr>
          <a:xfrm>
            <a:off x="7975745" y="4652648"/>
            <a:ext cx="2474539" cy="1526087"/>
            <a:chOff x="7713927" y="4540676"/>
            <a:chExt cx="2474539" cy="1526087"/>
          </a:xfrm>
        </p:grpSpPr>
        <p:sp>
          <p:nvSpPr>
            <p:cNvPr id="14" name="Content Placeholder 2">
              <a:extLst>
                <a:ext uri="{FF2B5EF4-FFF2-40B4-BE49-F238E27FC236}">
                  <a16:creationId xmlns:a16="http://schemas.microsoft.com/office/drawing/2014/main" id="{3D19938C-6335-2249-A13D-06A60FE39D74}"/>
                </a:ext>
              </a:extLst>
            </p:cNvPr>
            <p:cNvSpPr txBox="1">
              <a:spLocks/>
            </p:cNvSpPr>
            <p:nvPr/>
          </p:nvSpPr>
          <p:spPr>
            <a:xfrm>
              <a:off x="7713927" y="5112509"/>
              <a:ext cx="2474539" cy="954254"/>
            </a:xfrm>
            <a:prstGeom prst="rect">
              <a:avLst/>
            </a:prstGeom>
          </p:spPr>
          <p:txBody>
            <a:bodyPr vert="horz" lIns="91440" tIns="45720" rIns="91440" bIns="45720" anchor="t">
              <a:normAutofit lnSpcReduction="1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buNone/>
                <a:defRPr sz="2000" b="1"/>
              </a:pPr>
              <a:r>
                <a:t>Se </a:t>
              </a:r>
              <a:r>
                <a:rPr lang="en-US" err="1"/>
                <a:t>préparent</a:t>
              </a:r>
              <a:r>
                <a:t> à </a:t>
              </a:r>
              <a:r>
                <a:rPr err="1"/>
                <a:t>diriger</a:t>
              </a:r>
              <a:r>
                <a:t> et à </a:t>
              </a:r>
              <a:r>
                <a:rPr err="1"/>
                <a:t>soutenir</a:t>
              </a:r>
              <a:r>
                <a:t> </a:t>
              </a:r>
              <a:r>
                <a:rPr err="1"/>
                <a:t>leur</a:t>
              </a:r>
              <a:r>
                <a:t> </a:t>
              </a:r>
              <a:r>
                <a:rPr err="1"/>
                <a:t>famille</a:t>
              </a:r>
              <a:endParaRPr lang="en-US" err="1">
                <a:cs typeface="Calibri"/>
              </a:endParaRPr>
            </a:p>
            <a:p>
              <a:pPr marL="0" indent="0">
                <a:buFont typeface="Arial"/>
                <a:buNone/>
              </a:pPr>
              <a:endParaRPr lang="en-US" sz="2400" b="1"/>
            </a:p>
          </p:txBody>
        </p:sp>
        <p:pic>
          <p:nvPicPr>
            <p:cNvPr id="18" name="Graphic 17">
              <a:extLst>
                <a:ext uri="{FF2B5EF4-FFF2-40B4-BE49-F238E27FC236}">
                  <a16:creationId xmlns:a16="http://schemas.microsoft.com/office/drawing/2014/main" id="{3E271B06-2EC5-7D49-BAEA-87F3523BD78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02005" y="4540676"/>
              <a:ext cx="768000" cy="448000"/>
            </a:xfrm>
            <a:prstGeom prst="rect">
              <a:avLst/>
            </a:prstGeom>
          </p:spPr>
        </p:pic>
      </p:grpSp>
      <p:sp>
        <p:nvSpPr>
          <p:cNvPr id="17" name="Rectangle 16">
            <a:extLst>
              <a:ext uri="{FF2B5EF4-FFF2-40B4-BE49-F238E27FC236}">
                <a16:creationId xmlns:a16="http://schemas.microsoft.com/office/drawing/2014/main" id="{62F685AB-5384-DB72-F4DC-15BDFFA79146}"/>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9" name="Picture 18" descr="Text  Description automatically generated">
            <a:extLst>
              <a:ext uri="{FF2B5EF4-FFF2-40B4-BE49-F238E27FC236}">
                <a16:creationId xmlns:a16="http://schemas.microsoft.com/office/drawing/2014/main" id="{E2FED95A-6FE2-6B6F-CCAA-7BD382B02DF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Tree>
    <p:extLst>
      <p:ext uri="{BB962C8B-B14F-4D97-AF65-F5344CB8AC3E}">
        <p14:creationId xmlns:p14="http://schemas.microsoft.com/office/powerpoint/2010/main" val="2524528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residentClarkASchoolinZionSegment1.mp4" descr="PresidentClarkASchoolinZionSegment1.mp4">
            <a:hlinkClick r:id="" action="ppaction://media"/>
            <a:extLst>
              <a:ext uri="{FF2B5EF4-FFF2-40B4-BE49-F238E27FC236}">
                <a16:creationId xmlns:a16="http://schemas.microsoft.com/office/drawing/2014/main" id="{A763C78B-B9FD-1D4E-B252-A8CAE0E4C88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
        <p:nvSpPr>
          <p:cNvPr id="5" name="Triangle 4">
            <a:extLst>
              <a:ext uri="{FF2B5EF4-FFF2-40B4-BE49-F238E27FC236}">
                <a16:creationId xmlns:a16="http://schemas.microsoft.com/office/drawing/2014/main" id="{270E3A0C-3B09-9F46-BFF6-5784E194DBBB}"/>
              </a:ext>
            </a:extLst>
          </p:cNvPr>
          <p:cNvSpPr/>
          <p:nvPr/>
        </p:nvSpPr>
        <p:spPr>
          <a:xfrm rot="5400000">
            <a:off x="5632450" y="2823936"/>
            <a:ext cx="927100" cy="8509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6" name="Rectangle 5">
            <a:extLst>
              <a:ext uri="{FF2B5EF4-FFF2-40B4-BE49-F238E27FC236}">
                <a16:creationId xmlns:a16="http://schemas.microsoft.com/office/drawing/2014/main" id="{38CDA766-A8E2-574E-A2B3-C6AF89A2092F}"/>
              </a:ext>
            </a:extLst>
          </p:cNvPr>
          <p:cNvSpPr/>
          <p:nvPr/>
        </p:nvSpPr>
        <p:spPr>
          <a:xfrm>
            <a:off x="0" y="615677"/>
            <a:ext cx="5347063" cy="947058"/>
          </a:xfrm>
          <a:prstGeom prst="rect">
            <a:avLst/>
          </a:prstGeom>
          <a:solidFill>
            <a:schemeClr val="tx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7" name="Text Placeholder 2">
            <a:extLst>
              <a:ext uri="{FF2B5EF4-FFF2-40B4-BE49-F238E27FC236}">
                <a16:creationId xmlns:a16="http://schemas.microsoft.com/office/drawing/2014/main" id="{298BE645-7BD3-584B-967F-C6BFDCFFF150}"/>
              </a:ext>
            </a:extLst>
          </p:cNvPr>
          <p:cNvSpPr txBox="1">
            <a:spLocks/>
          </p:cNvSpPr>
          <p:nvPr/>
        </p:nvSpPr>
        <p:spPr>
          <a:xfrm>
            <a:off x="135733" y="857030"/>
            <a:ext cx="5498172" cy="455612"/>
          </a:xfrm>
          <a:prstGeom prst="rect">
            <a:avLst/>
          </a:prstGeom>
        </p:spPr>
        <p:txBody>
          <a:bodyPr vert="horz" lIns="91440" tIns="45720" rIns="91440" bIns="45720">
            <a:normAutofit lnSpcReduction="10000"/>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2800" spc="90">
                <a:solidFill>
                  <a:schemeClr val="bg1"/>
                </a:solidFill>
                <a:latin typeface="+mj-lt"/>
              </a:defRPr>
            </a:pPr>
            <a:r>
              <a:t>UN OUTIL DE SERVICE PASTORAL</a:t>
            </a:r>
          </a:p>
        </p:txBody>
      </p:sp>
    </p:spTree>
    <p:extLst>
      <p:ext uri="{BB962C8B-B14F-4D97-AF65-F5344CB8AC3E}">
        <p14:creationId xmlns:p14="http://schemas.microsoft.com/office/powerpoint/2010/main" val="1564383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9962" fill="hold"/>
                                        <p:tgtEl>
                                          <p:spTgt spid="2"/>
                                        </p:tgtEl>
                                      </p:cBhvr>
                                    </p:cmd>
                                  </p:childTnLst>
                                </p:cTn>
                              </p:par>
                              <p:par>
                                <p:cTn id="7" presetID="10" presetClass="exit" presetSubtype="0" fill="hold" grpId="0" nodeType="withEffect">
                                  <p:stCondLst>
                                    <p:cond delay="0"/>
                                  </p:stCondLst>
                                  <p:childTnLst>
                                    <p:animEffect transition="out" filter="fade">
                                      <p:cBhvr>
                                        <p:cTn id="8" dur="500"/>
                                        <p:tgtEl>
                                          <p:spTgt spid="7"/>
                                        </p:tgtEl>
                                      </p:cBhvr>
                                    </p:animEffect>
                                    <p:set>
                                      <p:cBhvr>
                                        <p:cTn id="9" dur="1" fill="hold">
                                          <p:stCondLst>
                                            <p:cond delay="499"/>
                                          </p:stCondLst>
                                        </p:cTn>
                                        <p:tgtEl>
                                          <p:spTgt spid="7"/>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6"/>
                                        </p:tgtEl>
                                      </p:cBhvr>
                                    </p:animEffect>
                                    <p:set>
                                      <p:cBhvr>
                                        <p:cTn id="12" dur="1" fill="hold">
                                          <p:stCondLst>
                                            <p:cond delay="499"/>
                                          </p:stCondLst>
                                        </p:cTn>
                                        <p:tgtEl>
                                          <p:spTgt spid="6"/>
                                        </p:tgtEl>
                                        <p:attrNameLst>
                                          <p:attrName>style.visibility</p:attrName>
                                        </p:attrNameLst>
                                      </p:cBhvr>
                                      <p:to>
                                        <p:strVal val="hidden"/>
                                      </p:to>
                                    </p:set>
                                  </p:childTnLst>
                                </p:cTn>
                              </p:par>
                              <p:par>
                                <p:cTn id="13" presetID="10" presetClass="exit" presetSubtype="0" fill="hold" grpId="0" nodeType="withEffect">
                                  <p:stCondLst>
                                    <p:cond delay="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6" fill="hold" display="0">
                  <p:stCondLst>
                    <p:cond delay="indefinite"/>
                  </p:stCondLst>
                </p:cTn>
                <p:tgtEl>
                  <p:spTgt spid="2"/>
                </p:tgtEl>
              </p:cMediaNode>
            </p:video>
          </p:childTnLst>
        </p:cTn>
      </p:par>
    </p:tnLst>
    <p:bldLst>
      <p:bldP spid="5" grpId="0" animBg="1"/>
      <p:bldP spid="6" grpId="0" animBg="1"/>
      <p:bldP spid="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CCBD9E5A-B8CF-BA45-9DF4-21000665A8AA}"/>
              </a:ext>
            </a:extLst>
          </p:cNvPr>
          <p:cNvPicPr>
            <a:picLocks noGrp="1" noChangeAspect="1"/>
          </p:cNvPicPr>
          <p:nvPr>
            <p:ph type="pic" sz="quarter" idx="4294967295"/>
          </p:nvPr>
        </p:nvPicPr>
        <p:blipFill>
          <a:blip r:embed="rId4" cstate="email">
            <a:extLst>
              <a:ext uri="{28A0092B-C50C-407E-A947-70E740481C1C}">
                <a14:useLocalDpi xmlns:a14="http://schemas.microsoft.com/office/drawing/2010/main"/>
              </a:ext>
            </a:extLst>
          </a:blip>
          <a:srcRect/>
          <a:stretch>
            <a:fillRect/>
          </a:stretch>
        </p:blipFill>
        <p:spPr>
          <a:xfrm>
            <a:off x="7593013" y="0"/>
            <a:ext cx="4598987" cy="6858000"/>
          </a:xfrm>
        </p:spPr>
      </p:pic>
      <p:sp>
        <p:nvSpPr>
          <p:cNvPr id="4" name="Content Placeholder 3">
            <a:extLst>
              <a:ext uri="{FF2B5EF4-FFF2-40B4-BE49-F238E27FC236}">
                <a16:creationId xmlns:a16="http://schemas.microsoft.com/office/drawing/2014/main" id="{B584CEB7-306D-9D4B-8A46-9E23D7A9C839}"/>
              </a:ext>
            </a:extLst>
          </p:cNvPr>
          <p:cNvSpPr>
            <a:spLocks noGrp="1"/>
          </p:cNvSpPr>
          <p:nvPr>
            <p:ph sz="quarter" idx="4294967295"/>
          </p:nvPr>
        </p:nvSpPr>
        <p:spPr>
          <a:xfrm>
            <a:off x="559750" y="1360027"/>
            <a:ext cx="6275388" cy="5054600"/>
          </a:xfrm>
        </p:spPr>
        <p:txBody>
          <a:bodyPr vert="horz" lIns="91440" tIns="45720" rIns="91440" bIns="45720" rtlCol="0" anchor="t">
            <a:normAutofit/>
          </a:bodyPr>
          <a:lstStyle/>
          <a:p>
            <a:pPr marL="0" indent="0">
              <a:lnSpc>
                <a:spcPct val="100000"/>
              </a:lnSpc>
              <a:buNone/>
              <a:defRPr sz="2000"/>
            </a:pPr>
            <a:r>
              <a:t>BYU-Pathway </a:t>
            </a:r>
            <a:r>
              <a:rPr err="1"/>
              <a:t>est</a:t>
            </a:r>
            <a:r>
              <a:t> plus </a:t>
            </a:r>
            <a:r>
              <a:rPr err="1"/>
              <a:t>qu’un</a:t>
            </a:r>
            <a:r>
              <a:t> chemin </a:t>
            </a:r>
            <a:r>
              <a:rPr err="1"/>
              <a:t>vers</a:t>
            </a:r>
            <a:r>
              <a:t> </a:t>
            </a:r>
            <a:r>
              <a:rPr lang="en-US"/>
              <a:t>un </a:t>
            </a:r>
            <a:r>
              <a:rPr lang="fr-FR"/>
              <a:t>diplôme</a:t>
            </a:r>
            <a:r>
              <a:t> – </a:t>
            </a:r>
            <a:r>
              <a:rPr lang="en-US" err="1"/>
              <a:t>elle</a:t>
            </a:r>
            <a:r>
              <a:t> </a:t>
            </a:r>
            <a:r>
              <a:rPr err="1"/>
              <a:t>peut</a:t>
            </a:r>
            <a:r>
              <a:t> </a:t>
            </a:r>
            <a:r>
              <a:rPr err="1"/>
              <a:t>être</a:t>
            </a:r>
            <a:r>
              <a:t> un </a:t>
            </a:r>
            <a:r>
              <a:rPr err="1"/>
              <a:t>outil</a:t>
            </a:r>
            <a:r>
              <a:t> puissant dans les efforts de </a:t>
            </a:r>
            <a:r>
              <a:rPr err="1"/>
              <a:t>ministère</a:t>
            </a:r>
            <a:r>
              <a:t> des </a:t>
            </a:r>
            <a:r>
              <a:rPr err="1"/>
              <a:t>dirigeants</a:t>
            </a:r>
            <a:r>
              <a:t> de </a:t>
            </a:r>
            <a:r>
              <a:rPr err="1"/>
              <a:t>l’Église</a:t>
            </a:r>
            <a:r>
              <a:t>. </a:t>
            </a:r>
            <a:r>
              <a:rPr lang="en-US" err="1"/>
              <a:t>Voici</a:t>
            </a:r>
            <a:r>
              <a:t> </a:t>
            </a:r>
            <a:r>
              <a:rPr err="1"/>
              <a:t>quelques-uns</a:t>
            </a:r>
            <a:r>
              <a:t> des </a:t>
            </a:r>
            <a:r>
              <a:rPr err="1"/>
              <a:t>groupes</a:t>
            </a:r>
            <a:r>
              <a:t> que le </a:t>
            </a:r>
            <a:r>
              <a:rPr err="1"/>
              <a:t>modèle</a:t>
            </a:r>
            <a:r>
              <a:t> flexible et </a:t>
            </a:r>
            <a:r>
              <a:rPr lang="en-US"/>
              <a:t>à </a:t>
            </a:r>
            <a:r>
              <a:rPr lang="en-US" err="1"/>
              <a:t>faible</a:t>
            </a:r>
            <a:r>
              <a:rPr lang="en-US"/>
              <a:t> </a:t>
            </a:r>
            <a:r>
              <a:rPr lang="en-US" err="1"/>
              <a:t>coût</a:t>
            </a:r>
            <a:r>
              <a:t> de BYU-Pathway </a:t>
            </a:r>
            <a:r>
              <a:rPr err="1"/>
              <a:t>peut</a:t>
            </a:r>
            <a:r>
              <a:t> </a:t>
            </a:r>
            <a:r>
              <a:rPr err="1"/>
              <a:t>renforcer</a:t>
            </a:r>
            <a:r>
              <a:t> </a:t>
            </a:r>
            <a:r>
              <a:rPr err="1"/>
              <a:t>spirituellement</a:t>
            </a:r>
            <a:r>
              <a:t> et </a:t>
            </a:r>
            <a:r>
              <a:rPr err="1"/>
              <a:t>temporellement</a:t>
            </a:r>
            <a:r>
              <a:t>:</a:t>
            </a:r>
          </a:p>
          <a:p>
            <a:pPr marL="457200" lvl="1" indent="0">
              <a:lnSpc>
                <a:spcPct val="110000"/>
              </a:lnSpc>
              <a:buNone/>
            </a:pPr>
            <a:endParaRPr lang="en-US" sz="800" b="1"/>
          </a:p>
          <a:p>
            <a:pPr marL="0" indent="0">
              <a:lnSpc>
                <a:spcPct val="110000"/>
              </a:lnSpc>
              <a:buNone/>
            </a:pPr>
            <a:r>
              <a:rPr lang="en-US" sz="2400" b="1">
                <a:solidFill>
                  <a:srgbClr val="3793A7"/>
                </a:solidFill>
              </a:rPr>
              <a:t>ANCIENS POTENTIELS</a:t>
            </a:r>
            <a:br>
              <a:rPr lang="en-US" sz="2000"/>
            </a:br>
            <a:r>
              <a:rPr sz="1800"/>
              <a:t>BYU-Pathway </a:t>
            </a:r>
            <a:r>
              <a:rPr sz="1800" err="1"/>
              <a:t>peut</a:t>
            </a:r>
            <a:r>
              <a:rPr sz="1800"/>
              <a:t> </a:t>
            </a:r>
            <a:r>
              <a:rPr sz="1800" err="1"/>
              <a:t>fournir</a:t>
            </a:r>
            <a:r>
              <a:rPr sz="1800"/>
              <a:t> </a:t>
            </a:r>
            <a:r>
              <a:rPr sz="1800" err="1"/>
              <a:t>une</a:t>
            </a:r>
            <a:r>
              <a:rPr sz="1800"/>
              <a:t> </a:t>
            </a:r>
            <a:r>
              <a:rPr sz="1800" err="1"/>
              <a:t>croissance</a:t>
            </a:r>
            <a:r>
              <a:rPr sz="1800"/>
              <a:t> spirituelle, un </a:t>
            </a:r>
            <a:r>
              <a:rPr sz="1800" err="1"/>
              <a:t>accès</a:t>
            </a:r>
            <a:r>
              <a:rPr sz="1800"/>
              <a:t> à </a:t>
            </a:r>
            <a:r>
              <a:rPr sz="1800" err="1"/>
              <a:t>l’éducation</a:t>
            </a:r>
            <a:r>
              <a:rPr sz="1800"/>
              <a:t> et </a:t>
            </a:r>
            <a:r>
              <a:rPr sz="1800" err="1"/>
              <a:t>une</a:t>
            </a:r>
            <a:r>
              <a:rPr sz="1800"/>
              <a:t> </a:t>
            </a:r>
            <a:r>
              <a:rPr sz="1800" err="1"/>
              <a:t>meilleure</a:t>
            </a:r>
            <a:r>
              <a:rPr sz="1800"/>
              <a:t> </a:t>
            </a:r>
            <a:r>
              <a:rPr sz="1800" err="1"/>
              <a:t>carrière</a:t>
            </a:r>
            <a:r>
              <a:rPr sz="1800"/>
              <a:t>, tout </a:t>
            </a:r>
            <a:r>
              <a:rPr sz="1800" err="1"/>
              <a:t>en</a:t>
            </a:r>
            <a:r>
              <a:rPr sz="1800"/>
              <a:t> </a:t>
            </a:r>
            <a:r>
              <a:rPr sz="1800" err="1"/>
              <a:t>initiant</a:t>
            </a:r>
            <a:r>
              <a:rPr sz="1800"/>
              <a:t> les </a:t>
            </a:r>
            <a:r>
              <a:rPr sz="1800" err="1"/>
              <a:t>membres</a:t>
            </a:r>
            <a:r>
              <a:rPr sz="1800"/>
              <a:t> de la </a:t>
            </a:r>
            <a:r>
              <a:rPr sz="1800" err="1"/>
              <a:t>famille</a:t>
            </a:r>
            <a:r>
              <a:rPr sz="1800"/>
              <a:t> à </a:t>
            </a:r>
            <a:r>
              <a:rPr lang="en-US" sz="1800" err="1"/>
              <a:t>l’Évangile</a:t>
            </a:r>
            <a:r>
              <a:rPr sz="1800"/>
              <a:t>.</a:t>
            </a:r>
            <a:endParaRPr sz="1800">
              <a:cs typeface="Calibri"/>
            </a:endParaRPr>
          </a:p>
          <a:p>
            <a:pPr marL="0" indent="0">
              <a:lnSpc>
                <a:spcPct val="110000"/>
              </a:lnSpc>
              <a:buNone/>
            </a:pPr>
            <a:r>
              <a:rPr sz="2400" b="1">
                <a:solidFill>
                  <a:srgbClr val="3793A7"/>
                </a:solidFill>
              </a:rPr>
              <a:t>MISSIONNAIRES RÉCEMMENT REVENUS</a:t>
            </a:r>
            <a:br>
              <a:rPr lang="en-US" sz="1800"/>
            </a:br>
            <a:r>
              <a:rPr sz="1800"/>
              <a:t>BYU-Pathway </a:t>
            </a:r>
            <a:r>
              <a:rPr sz="1800" err="1"/>
              <a:t>peut</a:t>
            </a:r>
            <a:r>
              <a:rPr sz="1800"/>
              <a:t> aider les </a:t>
            </a:r>
            <a:r>
              <a:rPr sz="1800" err="1"/>
              <a:t>missionnaires</a:t>
            </a:r>
            <a:r>
              <a:rPr sz="1800"/>
              <a:t> de retour à continuer à </a:t>
            </a:r>
            <a:r>
              <a:rPr sz="1800" err="1"/>
              <a:t>être</a:t>
            </a:r>
            <a:r>
              <a:rPr sz="1800"/>
              <a:t> </a:t>
            </a:r>
            <a:r>
              <a:rPr sz="1800" err="1"/>
              <a:t>impliqués</a:t>
            </a:r>
            <a:r>
              <a:rPr sz="1800"/>
              <a:t> dans </a:t>
            </a:r>
            <a:r>
              <a:rPr lang="en-US" sz="1800" err="1"/>
              <a:t>l’Évangile</a:t>
            </a:r>
            <a:r>
              <a:rPr sz="1800"/>
              <a:t> tout </a:t>
            </a:r>
            <a:r>
              <a:rPr sz="1800" err="1"/>
              <a:t>en</a:t>
            </a:r>
            <a:r>
              <a:rPr sz="1800"/>
              <a:t> </a:t>
            </a:r>
            <a:r>
              <a:rPr sz="1800" err="1"/>
              <a:t>recevant</a:t>
            </a:r>
            <a:r>
              <a:rPr sz="1800"/>
              <a:t> </a:t>
            </a:r>
            <a:r>
              <a:rPr sz="1800" err="1"/>
              <a:t>une</a:t>
            </a:r>
            <a:r>
              <a:rPr sz="1800"/>
              <a:t> </a:t>
            </a:r>
            <a:r>
              <a:rPr sz="1800" err="1"/>
              <a:t>éducation</a:t>
            </a:r>
            <a:r>
              <a:rPr sz="1800"/>
              <a:t> et </a:t>
            </a:r>
            <a:r>
              <a:rPr sz="1800" err="1"/>
              <a:t>en</a:t>
            </a:r>
            <a:r>
              <a:rPr sz="1800"/>
              <a:t> </a:t>
            </a:r>
            <a:r>
              <a:rPr sz="1800" err="1"/>
              <a:t>progressant</a:t>
            </a:r>
            <a:r>
              <a:rPr sz="1800"/>
              <a:t> </a:t>
            </a:r>
            <a:r>
              <a:rPr sz="1800" err="1"/>
              <a:t>vers</a:t>
            </a:r>
            <a:r>
              <a:rPr sz="1800"/>
              <a:t> </a:t>
            </a:r>
            <a:r>
              <a:rPr sz="1800" err="1"/>
              <a:t>une</a:t>
            </a:r>
            <a:r>
              <a:rPr sz="1800"/>
              <a:t> </a:t>
            </a:r>
            <a:r>
              <a:rPr sz="1800" err="1"/>
              <a:t>famille</a:t>
            </a:r>
            <a:r>
              <a:rPr sz="1800"/>
              <a:t> et </a:t>
            </a:r>
            <a:r>
              <a:rPr sz="1800" err="1"/>
              <a:t>une</a:t>
            </a:r>
            <a:r>
              <a:rPr sz="1800"/>
              <a:t> </a:t>
            </a:r>
            <a:r>
              <a:rPr sz="1800" err="1"/>
              <a:t>carrière</a:t>
            </a:r>
            <a:r>
              <a:rPr sz="1800"/>
              <a:t>.</a:t>
            </a:r>
            <a:endParaRPr sz="1800">
              <a:cs typeface="Calibri"/>
            </a:endParaRPr>
          </a:p>
        </p:txBody>
      </p:sp>
      <p:sp>
        <p:nvSpPr>
          <p:cNvPr id="7" name="Text Placeholder 1">
            <a:extLst>
              <a:ext uri="{FF2B5EF4-FFF2-40B4-BE49-F238E27FC236}">
                <a16:creationId xmlns:a16="http://schemas.microsoft.com/office/drawing/2014/main" id="{19BA7E76-E466-9240-A419-49D1B14B079B}"/>
              </a:ext>
            </a:extLst>
          </p:cNvPr>
          <p:cNvSpPr txBox="1">
            <a:spLocks/>
          </p:cNvSpPr>
          <p:nvPr/>
        </p:nvSpPr>
        <p:spPr>
          <a:xfrm>
            <a:off x="520534" y="440672"/>
            <a:ext cx="6957665"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t>Pour les dirigeants de l’Église</a:t>
            </a:r>
          </a:p>
        </p:txBody>
      </p:sp>
    </p:spTree>
    <p:extLst>
      <p:ext uri="{BB962C8B-B14F-4D97-AF65-F5344CB8AC3E}">
        <p14:creationId xmlns:p14="http://schemas.microsoft.com/office/powerpoint/2010/main" val="266186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C0A096C8-1AC9-1943-B74F-4A7520050FF3}"/>
              </a:ext>
            </a:extLst>
          </p:cNvPr>
          <p:cNvPicPr>
            <a:picLocks noGrp="1" noChangeAspect="1"/>
          </p:cNvPicPr>
          <p:nvPr>
            <p:ph type="pic" sz="quarter" idx="4294967295"/>
          </p:nvPr>
        </p:nvPicPr>
        <p:blipFill>
          <a:blip r:embed="rId4" cstate="email">
            <a:extLst>
              <a:ext uri="{28A0092B-C50C-407E-A947-70E740481C1C}">
                <a14:useLocalDpi xmlns:a14="http://schemas.microsoft.com/office/drawing/2010/main"/>
              </a:ext>
            </a:extLst>
          </a:blip>
          <a:srcRect/>
          <a:stretch>
            <a:fillRect/>
          </a:stretch>
        </p:blipFill>
        <p:spPr>
          <a:xfrm>
            <a:off x="7593013" y="0"/>
            <a:ext cx="4598987" cy="6858000"/>
          </a:xfrm>
        </p:spPr>
      </p:pic>
      <p:sp>
        <p:nvSpPr>
          <p:cNvPr id="4" name="Content Placeholder 3">
            <a:extLst>
              <a:ext uri="{FF2B5EF4-FFF2-40B4-BE49-F238E27FC236}">
                <a16:creationId xmlns:a16="http://schemas.microsoft.com/office/drawing/2014/main" id="{B584CEB7-306D-9D4B-8A46-9E23D7A9C839}"/>
              </a:ext>
            </a:extLst>
          </p:cNvPr>
          <p:cNvSpPr>
            <a:spLocks noGrp="1"/>
          </p:cNvSpPr>
          <p:nvPr>
            <p:ph sz="quarter" idx="4294967295"/>
          </p:nvPr>
        </p:nvSpPr>
        <p:spPr>
          <a:xfrm>
            <a:off x="576942" y="1426029"/>
            <a:ext cx="6363799" cy="5165867"/>
          </a:xfrm>
        </p:spPr>
        <p:txBody>
          <a:bodyPr vert="horz" lIns="91440" tIns="45720" rIns="91440" bIns="45720" rtlCol="0" anchor="t">
            <a:noAutofit/>
          </a:bodyPr>
          <a:lstStyle/>
          <a:p>
            <a:pPr marL="0" indent="0">
              <a:lnSpc>
                <a:spcPct val="100000"/>
              </a:lnSpc>
              <a:spcAft>
                <a:spcPts val="1200"/>
              </a:spcAft>
              <a:buNone/>
            </a:pPr>
            <a:r>
              <a:rPr sz="2400" b="1">
                <a:solidFill>
                  <a:srgbClr val="3793A7"/>
                </a:solidFill>
              </a:rPr>
              <a:t>JEUNES ADULTES </a:t>
            </a:r>
            <a:r>
              <a:rPr lang="en-US" sz="2400" b="1">
                <a:solidFill>
                  <a:srgbClr val="3793A7"/>
                </a:solidFill>
              </a:rPr>
              <a:t>SEULS</a:t>
            </a:r>
            <a:br>
              <a:rPr lang="en-US" sz="1800"/>
            </a:br>
            <a:r>
              <a:rPr sz="1700"/>
              <a:t>Les </a:t>
            </a:r>
            <a:r>
              <a:rPr lang="en-US" sz="1700" err="1"/>
              <a:t>cours</a:t>
            </a:r>
            <a:r>
              <a:rPr sz="1700"/>
              <a:t> </a:t>
            </a:r>
            <a:r>
              <a:rPr lang="en-US" sz="1700" err="1"/>
              <a:t>basés</a:t>
            </a:r>
            <a:r>
              <a:rPr sz="1700"/>
              <a:t> sur </a:t>
            </a:r>
            <a:r>
              <a:rPr lang="en-US" sz="1700" err="1"/>
              <a:t>l’Évangile</a:t>
            </a:r>
            <a:r>
              <a:rPr sz="1700"/>
              <a:t> de BYU-Pathway et les exigences de </a:t>
            </a:r>
            <a:r>
              <a:rPr lang="en-US" sz="1700" err="1"/>
              <a:t>l’institut</a:t>
            </a:r>
            <a:r>
              <a:rPr sz="1700"/>
              <a:t> </a:t>
            </a:r>
            <a:r>
              <a:rPr lang="en-US" sz="1700" err="1"/>
              <a:t>peuvent</a:t>
            </a:r>
            <a:r>
              <a:rPr sz="1700"/>
              <a:t> </a:t>
            </a:r>
            <a:r>
              <a:rPr lang="en-US" sz="1700" err="1"/>
              <a:t>être</a:t>
            </a:r>
            <a:r>
              <a:rPr sz="1700"/>
              <a:t> </a:t>
            </a:r>
            <a:r>
              <a:rPr lang="en-US" sz="1700" err="1"/>
              <a:t>une</a:t>
            </a:r>
            <a:r>
              <a:rPr sz="1700"/>
              <a:t> source de force et de direction pour les </a:t>
            </a:r>
            <a:r>
              <a:rPr lang="en-US" sz="1700" err="1"/>
              <a:t>jeunes</a:t>
            </a:r>
            <a:r>
              <a:rPr sz="1700"/>
              <a:t> </a:t>
            </a:r>
            <a:r>
              <a:rPr lang="en-US" sz="1700" err="1"/>
              <a:t>adultes</a:t>
            </a:r>
            <a:r>
              <a:rPr sz="1700"/>
              <a:t>.</a:t>
            </a:r>
            <a:endParaRPr lang="en-US" sz="1800" b="1">
              <a:solidFill>
                <a:srgbClr val="F9C608"/>
              </a:solidFill>
              <a:cs typeface="Calibri" panose="020F0502020204030204"/>
            </a:endParaRPr>
          </a:p>
          <a:p>
            <a:pPr marL="0" indent="0">
              <a:lnSpc>
                <a:spcPct val="100000"/>
              </a:lnSpc>
              <a:spcAft>
                <a:spcPts val="1200"/>
              </a:spcAft>
              <a:buNone/>
            </a:pPr>
            <a:r>
              <a:rPr sz="2400" b="1">
                <a:solidFill>
                  <a:srgbClr val="3793A7"/>
                </a:solidFill>
              </a:rPr>
              <a:t>MEMBRES D’ÉGLISE SOUS-EMPLOYÉS</a:t>
            </a:r>
            <a:br>
              <a:rPr lang="en-US" sz="1800"/>
            </a:br>
            <a:r>
              <a:rPr sz="1700"/>
              <a:t>BYU-Pathway </a:t>
            </a:r>
            <a:r>
              <a:rPr sz="1700" err="1"/>
              <a:t>peut</a:t>
            </a:r>
            <a:r>
              <a:rPr sz="1700"/>
              <a:t> aider les </a:t>
            </a:r>
            <a:r>
              <a:rPr sz="1700" err="1"/>
              <a:t>membres</a:t>
            </a:r>
            <a:r>
              <a:rPr sz="1700"/>
              <a:t> à </a:t>
            </a:r>
            <a:r>
              <a:rPr sz="1700" err="1"/>
              <a:t>obtenir</a:t>
            </a:r>
            <a:r>
              <a:rPr sz="1700"/>
              <a:t> des </a:t>
            </a:r>
            <a:r>
              <a:rPr sz="1700" err="1"/>
              <a:t>certificats</a:t>
            </a:r>
            <a:r>
              <a:rPr sz="1700"/>
              <a:t> de </a:t>
            </a:r>
            <a:r>
              <a:rPr sz="1700" err="1"/>
              <a:t>préparation</a:t>
            </a:r>
            <a:r>
              <a:rPr sz="1700"/>
              <a:t> à </a:t>
            </a:r>
            <a:r>
              <a:rPr sz="1700" err="1"/>
              <a:t>l’emploi</a:t>
            </a:r>
            <a:r>
              <a:rPr sz="1700"/>
              <a:t> et un </a:t>
            </a:r>
            <a:r>
              <a:rPr sz="1700" err="1"/>
              <a:t>diplôme</a:t>
            </a:r>
            <a:r>
              <a:rPr sz="1700"/>
              <a:t> pour </a:t>
            </a:r>
            <a:r>
              <a:rPr sz="1700" err="1"/>
              <a:t>établir</a:t>
            </a:r>
            <a:r>
              <a:rPr sz="1700"/>
              <a:t> </a:t>
            </a:r>
            <a:r>
              <a:rPr sz="1700" err="1"/>
              <a:t>ou</a:t>
            </a:r>
            <a:r>
              <a:rPr sz="1700"/>
              <a:t> faire la transition </a:t>
            </a:r>
            <a:r>
              <a:rPr sz="1700" err="1"/>
              <a:t>vers</a:t>
            </a:r>
            <a:r>
              <a:rPr sz="1700"/>
              <a:t> </a:t>
            </a:r>
            <a:r>
              <a:rPr sz="1700" err="1"/>
              <a:t>une</a:t>
            </a:r>
            <a:r>
              <a:rPr sz="1700"/>
              <a:t> </a:t>
            </a:r>
            <a:r>
              <a:rPr sz="1700" err="1"/>
              <a:t>carrière</a:t>
            </a:r>
            <a:r>
              <a:rPr sz="1700"/>
              <a:t>.</a:t>
            </a:r>
            <a:endParaRPr sz="1700">
              <a:cs typeface="Calibri"/>
            </a:endParaRPr>
          </a:p>
          <a:p>
            <a:pPr marL="0" indent="0">
              <a:lnSpc>
                <a:spcPct val="100000"/>
              </a:lnSpc>
              <a:spcAft>
                <a:spcPts val="1200"/>
              </a:spcAft>
              <a:buNone/>
            </a:pPr>
            <a:r>
              <a:rPr sz="2400" b="1">
                <a:solidFill>
                  <a:srgbClr val="3793A7"/>
                </a:solidFill>
              </a:rPr>
              <a:t>ANGLOPHONES NON NATIFS</a:t>
            </a:r>
            <a:br>
              <a:rPr lang="en-US" sz="1800"/>
            </a:br>
            <a:r>
              <a:rPr sz="1700"/>
              <a:t>BYU-Pathway </a:t>
            </a:r>
            <a:r>
              <a:rPr sz="1700" err="1"/>
              <a:t>fournit</a:t>
            </a:r>
            <a:r>
              <a:rPr sz="1700"/>
              <a:t> des </a:t>
            </a:r>
            <a:r>
              <a:rPr sz="1700" err="1"/>
              <a:t>outils</a:t>
            </a:r>
            <a:r>
              <a:rPr sz="1700"/>
              <a:t> pour </a:t>
            </a:r>
            <a:r>
              <a:rPr sz="1700" err="1"/>
              <a:t>améliorer</a:t>
            </a:r>
            <a:r>
              <a:rPr sz="1700"/>
              <a:t> les </a:t>
            </a:r>
            <a:r>
              <a:rPr sz="1700" err="1"/>
              <a:t>compétences</a:t>
            </a:r>
            <a:r>
              <a:rPr sz="1700"/>
              <a:t> </a:t>
            </a:r>
            <a:r>
              <a:rPr sz="1700" err="1"/>
              <a:t>en</a:t>
            </a:r>
            <a:r>
              <a:rPr sz="1700"/>
              <a:t> </a:t>
            </a:r>
            <a:r>
              <a:rPr sz="1700" err="1"/>
              <a:t>anglais</a:t>
            </a:r>
            <a:r>
              <a:rPr sz="1700"/>
              <a:t> et la communication </a:t>
            </a:r>
            <a:r>
              <a:rPr sz="1700" err="1"/>
              <a:t>professionnelle</a:t>
            </a:r>
            <a:r>
              <a:rPr sz="1700"/>
              <a:t>.</a:t>
            </a:r>
            <a:endParaRPr lang="en-US" sz="1700" b="1"/>
          </a:p>
          <a:p>
            <a:pPr marL="0" indent="0">
              <a:lnSpc>
                <a:spcPct val="100000"/>
              </a:lnSpc>
              <a:spcAft>
                <a:spcPts val="1200"/>
              </a:spcAft>
              <a:buNone/>
            </a:pPr>
            <a:r>
              <a:rPr sz="2400" b="1">
                <a:solidFill>
                  <a:srgbClr val="3793A7"/>
                </a:solidFill>
              </a:rPr>
              <a:t>AMIS DE L’ÉGLISE</a:t>
            </a:r>
            <a:br>
              <a:rPr lang="en-US" sz="1800"/>
            </a:br>
            <a:r>
              <a:rPr sz="1700"/>
              <a:t>BYU-Pathway </a:t>
            </a:r>
            <a:r>
              <a:rPr sz="1700" err="1"/>
              <a:t>peut</a:t>
            </a:r>
            <a:r>
              <a:rPr sz="1700"/>
              <a:t> </a:t>
            </a:r>
            <a:r>
              <a:rPr sz="1700" err="1"/>
              <a:t>bénir</a:t>
            </a:r>
            <a:r>
              <a:rPr sz="1700"/>
              <a:t> les </a:t>
            </a:r>
            <a:r>
              <a:rPr sz="1700" err="1"/>
              <a:t>personnes</a:t>
            </a:r>
            <a:r>
              <a:rPr sz="1700"/>
              <a:t> </a:t>
            </a:r>
            <a:r>
              <a:rPr lang="en-US" sz="1700" err="1"/>
              <a:t>ayant</a:t>
            </a:r>
            <a:r>
              <a:rPr sz="1700"/>
              <a:t> un lien </a:t>
            </a:r>
            <a:r>
              <a:rPr lang="en-US" sz="1700"/>
              <a:t>avec </a:t>
            </a:r>
            <a:r>
              <a:rPr lang="en-US" sz="1700" err="1"/>
              <a:t>l’Église</a:t>
            </a:r>
            <a:r>
              <a:rPr sz="1700"/>
              <a:t> </a:t>
            </a:r>
            <a:r>
              <a:rPr sz="1700" err="1"/>
              <a:t>en</a:t>
            </a:r>
            <a:r>
              <a:rPr lang="en-US" sz="1700"/>
              <a:t> </a:t>
            </a:r>
            <a:r>
              <a:rPr lang="en-US" sz="1700" err="1"/>
              <a:t>fournissant</a:t>
            </a:r>
            <a:r>
              <a:rPr sz="1700"/>
              <a:t> </a:t>
            </a:r>
            <a:r>
              <a:rPr sz="1700" err="1"/>
              <a:t>une</a:t>
            </a:r>
            <a:r>
              <a:rPr sz="1700"/>
              <a:t> </a:t>
            </a:r>
            <a:r>
              <a:rPr sz="1700" err="1"/>
              <a:t>éducation</a:t>
            </a:r>
            <a:r>
              <a:rPr sz="1700"/>
              <a:t> </a:t>
            </a:r>
            <a:r>
              <a:rPr sz="1700" err="1"/>
              <a:t>universitaire</a:t>
            </a:r>
            <a:r>
              <a:rPr sz="1700"/>
              <a:t> </a:t>
            </a:r>
            <a:r>
              <a:rPr sz="1700" err="1"/>
              <a:t>basée</a:t>
            </a:r>
            <a:r>
              <a:rPr sz="1700"/>
              <a:t> sur la </a:t>
            </a:r>
            <a:r>
              <a:rPr sz="1700" err="1"/>
              <a:t>spiritualité</a:t>
            </a:r>
            <a:r>
              <a:rPr sz="1700"/>
              <a:t>.</a:t>
            </a:r>
            <a:endParaRPr sz="1700">
              <a:cs typeface="Calibri"/>
            </a:endParaRPr>
          </a:p>
        </p:txBody>
      </p:sp>
      <p:sp>
        <p:nvSpPr>
          <p:cNvPr id="8" name="Text Placeholder 1">
            <a:extLst>
              <a:ext uri="{FF2B5EF4-FFF2-40B4-BE49-F238E27FC236}">
                <a16:creationId xmlns:a16="http://schemas.microsoft.com/office/drawing/2014/main" id="{024E6555-4F67-0341-8758-449993CE3712}"/>
              </a:ext>
            </a:extLst>
          </p:cNvPr>
          <p:cNvSpPr txBox="1">
            <a:spLocks/>
          </p:cNvSpPr>
          <p:nvPr/>
        </p:nvSpPr>
        <p:spPr>
          <a:xfrm>
            <a:off x="538970" y="545140"/>
            <a:ext cx="7086713"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4400">
                <a:latin typeface="+mj-lt"/>
              </a:defRPr>
            </a:pPr>
            <a:r>
              <a:t>Pour les dirigeants de l’Église</a:t>
            </a:r>
          </a:p>
        </p:txBody>
      </p:sp>
    </p:spTree>
    <p:extLst>
      <p:ext uri="{BB962C8B-B14F-4D97-AF65-F5344CB8AC3E}">
        <p14:creationId xmlns:p14="http://schemas.microsoft.com/office/powerpoint/2010/main" val="2180367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47503E13-8F64-F742-93FC-AB35E05CB03B}"/>
              </a:ext>
            </a:extLst>
          </p:cNvPr>
          <p:cNvPicPr>
            <a:picLocks noGrp="1" noChangeAspect="1"/>
          </p:cNvPicPr>
          <p:nvPr>
            <p:ph type="pic" idx="1"/>
          </p:nvPr>
        </p:nvPicPr>
        <p:blipFill>
          <a:blip r:embed="rId4" cstate="email">
            <a:extLst>
              <a:ext uri="{28A0092B-C50C-407E-A947-70E740481C1C}">
                <a14:useLocalDpi xmlns:a14="http://schemas.microsoft.com/office/drawing/2010/main"/>
              </a:ext>
            </a:extLst>
          </a:blip>
          <a:srcRect/>
          <a:stretch>
            <a:fillRect/>
          </a:stretch>
        </p:blipFill>
        <p:spPr/>
      </p:pic>
      <p:sp>
        <p:nvSpPr>
          <p:cNvPr id="4" name="Slide Number Placeholder 3">
            <a:extLst>
              <a:ext uri="{FF2B5EF4-FFF2-40B4-BE49-F238E27FC236}">
                <a16:creationId xmlns:a16="http://schemas.microsoft.com/office/drawing/2014/main" id="{AE6F4071-8806-6945-8B92-7B7F1DFFF373}"/>
              </a:ext>
            </a:extLst>
          </p:cNvPr>
          <p:cNvSpPr>
            <a:spLocks noGrp="1"/>
          </p:cNvSpPr>
          <p:nvPr>
            <p:ph type="sldNum" sz="quarter" idx="4"/>
          </p:nvPr>
        </p:nvSpPr>
        <p:spPr/>
        <p:txBody>
          <a:bodyPr/>
          <a:lstStyle/>
          <a:p>
            <a:fld id="{8893C2FB-EF86-FD49-89EB-659751C15892}" type="slidenum">
              <a:rPr lang="en-US" smtClean="0"/>
              <a:t>35</a:t>
            </a:fld>
            <a:endParaRPr lang="en-US"/>
          </a:p>
        </p:txBody>
      </p:sp>
      <p:pic>
        <p:nvPicPr>
          <p:cNvPr id="7" name="Picture 6" descr="A person in a suit smiling  Description automatically generated with medium confidence">
            <a:extLst>
              <a:ext uri="{FF2B5EF4-FFF2-40B4-BE49-F238E27FC236}">
                <a16:creationId xmlns:a16="http://schemas.microsoft.com/office/drawing/2014/main" id="{CDCE9751-9EAE-4A9D-1EB3-AB3FC4AEA01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61743" y="963935"/>
            <a:ext cx="3534234" cy="4930128"/>
          </a:xfrm>
          <a:prstGeom prst="rect">
            <a:avLst/>
          </a:prstGeom>
        </p:spPr>
      </p:pic>
      <p:sp>
        <p:nvSpPr>
          <p:cNvPr id="9" name="Rectangle 8">
            <a:extLst>
              <a:ext uri="{FF2B5EF4-FFF2-40B4-BE49-F238E27FC236}">
                <a16:creationId xmlns:a16="http://schemas.microsoft.com/office/drawing/2014/main" id="{3542E89D-28C6-26AA-5B48-03F7245C11D6}"/>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0" name="Picture 9" descr="Text  Description automatically generated">
            <a:extLst>
              <a:ext uri="{FF2B5EF4-FFF2-40B4-BE49-F238E27FC236}">
                <a16:creationId xmlns:a16="http://schemas.microsoft.com/office/drawing/2014/main" id="{5374F469-08AA-51F7-2DCF-F1ADEA5B21F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8" name="TextBox 7">
            <a:extLst>
              <a:ext uri="{FF2B5EF4-FFF2-40B4-BE49-F238E27FC236}">
                <a16:creationId xmlns:a16="http://schemas.microsoft.com/office/drawing/2014/main" id="{04B0412D-7645-E7F5-6B50-3BE275894CA4}"/>
              </a:ext>
            </a:extLst>
          </p:cNvPr>
          <p:cNvSpPr txBox="1"/>
          <p:nvPr/>
        </p:nvSpPr>
        <p:spPr>
          <a:xfrm>
            <a:off x="5163503" y="1691802"/>
            <a:ext cx="6026581" cy="3539430"/>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marL="173990" indent="-457200">
              <a:defRPr sz="2800">
                <a:solidFill>
                  <a:srgbClr val="58595B"/>
                </a:solidFill>
                <a:latin typeface="Calibri Light"/>
                <a:ea typeface="Roboto Slab Thin"/>
                <a:cs typeface="Roboto Slab Thin"/>
              </a:defRPr>
            </a:pPr>
            <a:r>
              <a:t>« Je considère la création de BYU-Pathway Worldwide comme le développement le plus important et le plus profond dans le système éducatif de l’Église de cette Église depuis la création des séminaires et instituts de religion il y a plus d’un siècle. »</a:t>
            </a:r>
            <a:endParaRPr lang="en-US">
              <a:latin typeface="Calibri Light"/>
            </a:endParaRPr>
          </a:p>
        </p:txBody>
      </p:sp>
      <p:sp>
        <p:nvSpPr>
          <p:cNvPr id="11" name="TextBox 10">
            <a:extLst>
              <a:ext uri="{FF2B5EF4-FFF2-40B4-BE49-F238E27FC236}">
                <a16:creationId xmlns:a16="http://schemas.microsoft.com/office/drawing/2014/main" id="{6D914A09-610E-2F5B-D278-DA9A86C102E6}"/>
              </a:ext>
            </a:extLst>
          </p:cNvPr>
          <p:cNvSpPr txBox="1"/>
          <p:nvPr/>
        </p:nvSpPr>
        <p:spPr>
          <a:xfrm>
            <a:off x="5363671" y="5104725"/>
            <a:ext cx="5622616" cy="892552"/>
          </a:xfrm>
          <a:prstGeom prst="rect">
            <a:avLst/>
          </a:prstGeom>
          <a:noFill/>
        </p:spPr>
        <p:txBody>
          <a:bodyPr rot="0" spcFirstLastPara="0" vertOverflow="overflow" horzOverflow="overflow" vert="horz" wrap="square" lIns="91440" tIns="45720" rIns="91440" bIns="45720" numCol="1" spcCol="0" fromWordArt="0" anchor="t" anchorCtr="0" forceAA="0" compatLnSpc="1">
            <a:prstTxWarp prst="textNoShape">
              <a:avLst/>
            </a:prstTxWarp>
            <a:spAutoFit/>
          </a:bodyPr>
          <a:lstStyle/>
          <a:p>
            <a:pPr>
              <a:defRPr sz="2000">
                <a:solidFill>
                  <a:srgbClr val="656365"/>
                </a:solidFill>
                <a:latin typeface="Calibri Light"/>
                <a:ea typeface="Calibri Light"/>
                <a:cs typeface="Calibri Light"/>
              </a:defRPr>
            </a:pPr>
            <a:r>
              <a:t>ELDER JEFFREY R. HOLLAND</a:t>
            </a:r>
          </a:p>
          <a:p>
            <a:pPr>
              <a:defRPr sz="1600" i="1">
                <a:solidFill>
                  <a:srgbClr val="656365"/>
                </a:solidFill>
                <a:latin typeface="Calibri Light"/>
                <a:ea typeface="Calibri Light"/>
                <a:cs typeface="Calibri Light"/>
              </a:defRPr>
            </a:pPr>
            <a:r>
              <a:t>« Remarques d’inauguration » (Inauguration mondiale de BYU-Pathway, 10 mars 2022), byupathway.org/speeches</a:t>
            </a:r>
            <a:endParaRPr lang="en-US" sz="1600" i="1">
              <a:latin typeface="Calibri Light"/>
              <a:ea typeface="Calibri Light"/>
              <a:cs typeface="Calibri Light"/>
            </a:endParaRPr>
          </a:p>
        </p:txBody>
      </p:sp>
    </p:spTree>
    <p:extLst>
      <p:ext uri="{BB962C8B-B14F-4D97-AF65-F5344CB8AC3E}">
        <p14:creationId xmlns:p14="http://schemas.microsoft.com/office/powerpoint/2010/main" val="1978917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C5A964E-2B82-7742-809E-9CBF786AEDB8}"/>
              </a:ext>
            </a:extLst>
          </p:cNvPr>
          <p:cNvSpPr/>
          <p:nvPr/>
        </p:nvSpPr>
        <p:spPr>
          <a:xfrm>
            <a:off x="-163286" y="-174171"/>
            <a:ext cx="12475029" cy="7162800"/>
          </a:xfrm>
          <a:prstGeom prst="rect">
            <a:avLst/>
          </a:prstGeom>
          <a:solidFill>
            <a:srgbClr val="69B34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026" name="Picture 2" descr="A green and white logo&#10;&#10;Description automatically generated">
            <a:extLst>
              <a:ext uri="{FF2B5EF4-FFF2-40B4-BE49-F238E27FC236}">
                <a16:creationId xmlns:a16="http://schemas.microsoft.com/office/drawing/2014/main" id="{DE5DFED8-D98A-5E4C-A3FB-FF0EBB33E8D0}"/>
              </a:ext>
            </a:extLst>
          </p:cNvPr>
          <p:cNvPicPr>
            <a:picLocks noChangeAspect="1" noChangeArrowheads="1"/>
          </p:cNvPicPr>
          <p:nvPr/>
        </p:nvPicPr>
        <p:blipFill>
          <a:blip r:embed="rId2"/>
          <a:srcRect/>
          <a:stretch>
            <a:fillRect/>
          </a:stretch>
        </p:blipFill>
        <p:spPr bwMode="auto">
          <a:xfrm>
            <a:off x="1636868" y="933612"/>
            <a:ext cx="8879841" cy="4990773"/>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7B664D1D-D03A-4845-A891-2A6EF834FC32}"/>
              </a:ext>
            </a:extLst>
          </p:cNvPr>
          <p:cNvSpPr>
            <a:spLocks noGrp="1"/>
          </p:cNvSpPr>
          <p:nvPr>
            <p:ph type="sldNum" sz="quarter" idx="12"/>
          </p:nvPr>
        </p:nvSpPr>
        <p:spPr/>
        <p:txBody>
          <a:bodyPr/>
          <a:lstStyle/>
          <a:p>
            <a:fld id="{C6665974-E1B7-A94A-85EF-DE1149FD678C}" type="slidenum">
              <a:rPr lang="en-US" smtClean="0"/>
              <a:t>36</a:t>
            </a:fld>
            <a:endParaRPr lang="en-US"/>
          </a:p>
        </p:txBody>
      </p:sp>
    </p:spTree>
    <p:extLst>
      <p:ext uri="{BB962C8B-B14F-4D97-AF65-F5344CB8AC3E}">
        <p14:creationId xmlns:p14="http://schemas.microsoft.com/office/powerpoint/2010/main" val="30513880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5B2010-AA1E-E049-8D25-A3044190CEF1}"/>
              </a:ext>
            </a:extLst>
          </p:cNvPr>
          <p:cNvSpPr>
            <a:spLocks noGrp="1"/>
          </p:cNvSpPr>
          <p:nvPr>
            <p:ph type="body" sz="quarter" idx="15"/>
          </p:nvPr>
        </p:nvSpPr>
        <p:spPr>
          <a:xfrm>
            <a:off x="3853470" y="273468"/>
            <a:ext cx="7852978" cy="456363"/>
          </a:xfrm>
        </p:spPr>
        <p:txBody>
          <a:bodyPr/>
          <a:lstStyle/>
          <a:p>
            <a:pPr>
              <a:defRPr sz="4400">
                <a:latin typeface="+mj-lt"/>
              </a:defRPr>
            </a:pPr>
            <a:r>
              <a:t>Qu’est-ce que EnglishConnect ?</a:t>
            </a:r>
          </a:p>
        </p:txBody>
      </p:sp>
      <p:sp>
        <p:nvSpPr>
          <p:cNvPr id="3" name="Content Placeholder 2">
            <a:extLst>
              <a:ext uri="{FF2B5EF4-FFF2-40B4-BE49-F238E27FC236}">
                <a16:creationId xmlns:a16="http://schemas.microsoft.com/office/drawing/2014/main" id="{D29BDC45-E8FF-3C47-9619-A51C86E2259F}"/>
              </a:ext>
            </a:extLst>
          </p:cNvPr>
          <p:cNvSpPr>
            <a:spLocks noGrp="1"/>
          </p:cNvSpPr>
          <p:nvPr>
            <p:ph sz="quarter" idx="22"/>
          </p:nvPr>
        </p:nvSpPr>
        <p:spPr>
          <a:xfrm>
            <a:off x="962509" y="1393372"/>
            <a:ext cx="10148916" cy="1223425"/>
          </a:xfrm>
        </p:spPr>
        <p:txBody>
          <a:bodyPr anchor="t">
            <a:noAutofit/>
          </a:bodyPr>
          <a:lstStyle/>
          <a:p>
            <a:pPr marL="0" indent="0" algn="ctr">
              <a:lnSpc>
                <a:spcPct val="110000"/>
              </a:lnSpc>
              <a:spcAft>
                <a:spcPts val="600"/>
              </a:spcAft>
              <a:buNone/>
            </a:pPr>
            <a:r>
              <a:rPr err="1"/>
              <a:t>EnglishConnect</a:t>
            </a:r>
            <a:r>
              <a:t> </a:t>
            </a:r>
            <a:r>
              <a:rPr err="1"/>
              <a:t>est</a:t>
            </a:r>
            <a:r>
              <a:t> un </a:t>
            </a:r>
            <a:r>
              <a:rPr err="1"/>
              <a:t>programme</a:t>
            </a:r>
            <a:r>
              <a:t> </a:t>
            </a:r>
            <a:r>
              <a:rPr err="1"/>
              <a:t>d’apprentissage</a:t>
            </a:r>
            <a:r>
              <a:t> de </a:t>
            </a:r>
            <a:r>
              <a:rPr err="1"/>
              <a:t>l’anglais</a:t>
            </a:r>
            <a:r>
              <a:t> </a:t>
            </a:r>
            <a:r>
              <a:rPr err="1"/>
              <a:t>offert</a:t>
            </a:r>
            <a:r>
              <a:t> par </a:t>
            </a:r>
            <a:r>
              <a:rPr err="1"/>
              <a:t>l’Église</a:t>
            </a:r>
            <a:r>
              <a:t> de Jésus-Christ des Saints des Derniers Jours.</a:t>
            </a:r>
          </a:p>
          <a:p>
            <a:pPr marL="0" indent="0" algn="ctr">
              <a:lnSpc>
                <a:spcPct val="110000"/>
              </a:lnSpc>
              <a:spcAft>
                <a:spcPts val="600"/>
              </a:spcAft>
              <a:buNone/>
            </a:pPr>
            <a:r>
              <a:t>Son but </a:t>
            </a:r>
            <a:r>
              <a:rPr err="1"/>
              <a:t>est</a:t>
            </a:r>
            <a:r>
              <a:t> </a:t>
            </a:r>
            <a:r>
              <a:rPr err="1"/>
              <a:t>d’aider</a:t>
            </a:r>
            <a:r>
              <a:t> </a:t>
            </a:r>
            <a:r>
              <a:rPr b="1">
                <a:solidFill>
                  <a:srgbClr val="69B340"/>
                </a:solidFill>
              </a:rPr>
              <a:t>les </a:t>
            </a:r>
            <a:r>
              <a:rPr b="1" err="1">
                <a:solidFill>
                  <a:srgbClr val="69B340"/>
                </a:solidFill>
              </a:rPr>
              <a:t>apprenants</a:t>
            </a:r>
            <a:r>
              <a:rPr b="1">
                <a:solidFill>
                  <a:srgbClr val="69B340"/>
                </a:solidFill>
              </a:rPr>
              <a:t> à </a:t>
            </a:r>
            <a:r>
              <a:rPr b="1" err="1">
                <a:solidFill>
                  <a:srgbClr val="69B340"/>
                </a:solidFill>
              </a:rPr>
              <a:t>développer</a:t>
            </a:r>
            <a:r>
              <a:rPr b="1">
                <a:solidFill>
                  <a:srgbClr val="69B340"/>
                </a:solidFill>
              </a:rPr>
              <a:t> des </a:t>
            </a:r>
            <a:r>
              <a:rPr b="1" err="1">
                <a:solidFill>
                  <a:srgbClr val="69B340"/>
                </a:solidFill>
              </a:rPr>
              <a:t>compétences</a:t>
            </a:r>
            <a:r>
              <a:rPr b="1">
                <a:solidFill>
                  <a:srgbClr val="69B340"/>
                </a:solidFill>
              </a:rPr>
              <a:t> </a:t>
            </a:r>
            <a:r>
              <a:rPr b="1" err="1">
                <a:solidFill>
                  <a:srgbClr val="69B340"/>
                </a:solidFill>
              </a:rPr>
              <a:t>en</a:t>
            </a:r>
            <a:r>
              <a:rPr b="1">
                <a:solidFill>
                  <a:srgbClr val="69B340"/>
                </a:solidFill>
              </a:rPr>
              <a:t> </a:t>
            </a:r>
            <a:r>
              <a:rPr b="1" err="1">
                <a:solidFill>
                  <a:srgbClr val="69B340"/>
                </a:solidFill>
              </a:rPr>
              <a:t>anglais</a:t>
            </a:r>
            <a:r>
              <a:rPr b="1">
                <a:solidFill>
                  <a:srgbClr val="69B340"/>
                </a:solidFill>
              </a:rPr>
              <a:t> dans un </a:t>
            </a:r>
            <a:r>
              <a:rPr b="1" err="1">
                <a:solidFill>
                  <a:srgbClr val="69B340"/>
                </a:solidFill>
              </a:rPr>
              <a:t>environnement</a:t>
            </a:r>
            <a:r>
              <a:rPr b="1">
                <a:solidFill>
                  <a:srgbClr val="69B340"/>
                </a:solidFill>
              </a:rPr>
              <a:t> de </a:t>
            </a:r>
            <a:r>
              <a:rPr b="1" err="1">
                <a:solidFill>
                  <a:srgbClr val="69B340"/>
                </a:solidFill>
              </a:rPr>
              <a:t>foi</a:t>
            </a:r>
            <a:r>
              <a:rPr b="1">
                <a:solidFill>
                  <a:srgbClr val="69B340"/>
                </a:solidFill>
              </a:rPr>
              <a:t>, de camaraderie et de </a:t>
            </a:r>
            <a:r>
              <a:rPr b="1" err="1">
                <a:solidFill>
                  <a:srgbClr val="69B340"/>
                </a:solidFill>
              </a:rPr>
              <a:t>croissance</a:t>
            </a:r>
            <a:r>
              <a:rPr b="1">
                <a:solidFill>
                  <a:srgbClr val="69B340"/>
                </a:solidFill>
              </a:rPr>
              <a:t>. </a:t>
            </a:r>
            <a:r>
              <a:rPr err="1">
                <a:cs typeface="Calibri Light"/>
              </a:rPr>
              <a:t>EnglishConnect</a:t>
            </a:r>
            <a:r>
              <a:rPr>
                <a:cs typeface="Calibri Light"/>
              </a:rPr>
              <a:t> aide les </a:t>
            </a:r>
            <a:r>
              <a:rPr err="1">
                <a:cs typeface="Calibri Light"/>
              </a:rPr>
              <a:t>apprenants</a:t>
            </a:r>
            <a:r>
              <a:rPr>
                <a:cs typeface="Calibri Light"/>
              </a:rPr>
              <a:t> à :</a:t>
            </a:r>
            <a:endParaRPr lang="en-US">
              <a:ea typeface="Calibri"/>
              <a:cs typeface="Calibri Light"/>
            </a:endParaRPr>
          </a:p>
        </p:txBody>
      </p:sp>
      <p:sp>
        <p:nvSpPr>
          <p:cNvPr id="6" name="TextBox 5">
            <a:extLst>
              <a:ext uri="{FF2B5EF4-FFF2-40B4-BE49-F238E27FC236}">
                <a16:creationId xmlns:a16="http://schemas.microsoft.com/office/drawing/2014/main" id="{EC4FCF43-E4C8-D64C-86C6-C8705D0B98CC}"/>
              </a:ext>
            </a:extLst>
          </p:cNvPr>
          <p:cNvSpPr txBox="1"/>
          <p:nvPr/>
        </p:nvSpPr>
        <p:spPr>
          <a:xfrm>
            <a:off x="361508" y="5948834"/>
            <a:ext cx="11483162" cy="400110"/>
          </a:xfrm>
          <a:prstGeom prst="rect">
            <a:avLst/>
          </a:prstGeom>
          <a:noFill/>
        </p:spPr>
        <p:txBody>
          <a:bodyPr wrap="square" lIns="91440" tIns="45720" rIns="91440" bIns="45720" anchor="t">
            <a:spAutoFit/>
          </a:bodyPr>
          <a:lstStyle/>
          <a:p>
            <a:pPr algn="ctr">
              <a:defRPr sz="2200"/>
            </a:pPr>
            <a:r>
              <a:rPr lang="en-US" sz="2000">
                <a:solidFill>
                  <a:srgbClr val="313031"/>
                </a:solidFill>
              </a:rPr>
              <a:t>Une </a:t>
            </a:r>
            <a:r>
              <a:rPr lang="en-US" sz="2000" err="1">
                <a:solidFill>
                  <a:srgbClr val="313031"/>
                </a:solidFill>
              </a:rPr>
              <a:t>meilleure</a:t>
            </a:r>
            <a:r>
              <a:rPr lang="en-US" sz="2000">
                <a:solidFill>
                  <a:srgbClr val="313031"/>
                </a:solidFill>
              </a:rPr>
              <a:t> </a:t>
            </a:r>
            <a:r>
              <a:rPr lang="en-US" sz="2000" err="1">
                <a:solidFill>
                  <a:srgbClr val="313031"/>
                </a:solidFill>
              </a:rPr>
              <a:t>maîtrise</a:t>
            </a:r>
            <a:r>
              <a:rPr lang="en-US" sz="2000">
                <a:solidFill>
                  <a:srgbClr val="313031"/>
                </a:solidFill>
              </a:rPr>
              <a:t> de </a:t>
            </a:r>
            <a:r>
              <a:rPr lang="en-US" sz="2000" err="1">
                <a:solidFill>
                  <a:srgbClr val="313031"/>
                </a:solidFill>
              </a:rPr>
              <a:t>l’anglais</a:t>
            </a:r>
            <a:r>
              <a:rPr lang="en-US" sz="2000">
                <a:solidFill>
                  <a:srgbClr val="313031"/>
                </a:solidFill>
              </a:rPr>
              <a:t> </a:t>
            </a:r>
            <a:r>
              <a:rPr lang="en-US" sz="2000" err="1">
                <a:solidFill>
                  <a:srgbClr val="313031"/>
                </a:solidFill>
              </a:rPr>
              <a:t>peut</a:t>
            </a:r>
            <a:r>
              <a:rPr lang="en-US" sz="2000">
                <a:solidFill>
                  <a:srgbClr val="313031"/>
                </a:solidFill>
              </a:rPr>
              <a:t> </a:t>
            </a:r>
            <a:r>
              <a:rPr lang="en-US" sz="2000" b="1" err="1">
                <a:solidFill>
                  <a:srgbClr val="69B340"/>
                </a:solidFill>
              </a:rPr>
              <a:t>élargir</a:t>
            </a:r>
            <a:r>
              <a:rPr lang="en-US" sz="2000" b="1">
                <a:solidFill>
                  <a:srgbClr val="69B340"/>
                </a:solidFill>
              </a:rPr>
              <a:t> les </a:t>
            </a:r>
            <a:r>
              <a:rPr lang="en-US" sz="2000" b="1" err="1">
                <a:solidFill>
                  <a:srgbClr val="69B340"/>
                </a:solidFill>
              </a:rPr>
              <a:t>possibilités</a:t>
            </a:r>
            <a:r>
              <a:rPr lang="en-US" sz="2000" b="1">
                <a:solidFill>
                  <a:srgbClr val="69B340"/>
                </a:solidFill>
              </a:rPr>
              <a:t> </a:t>
            </a:r>
            <a:r>
              <a:rPr lang="en-US" sz="2000" b="1" err="1">
                <a:solidFill>
                  <a:srgbClr val="69B340"/>
                </a:solidFill>
              </a:rPr>
              <a:t>d’éducation</a:t>
            </a:r>
            <a:r>
              <a:rPr lang="en-US" sz="2000" b="1">
                <a:solidFill>
                  <a:srgbClr val="69B340"/>
                </a:solidFill>
              </a:rPr>
              <a:t>, </a:t>
            </a:r>
            <a:r>
              <a:rPr lang="en-US" sz="2000" b="1" err="1">
                <a:solidFill>
                  <a:srgbClr val="69B340"/>
                </a:solidFill>
              </a:rPr>
              <a:t>d’emploi</a:t>
            </a:r>
            <a:r>
              <a:rPr lang="en-US" sz="2000" b="1">
                <a:solidFill>
                  <a:srgbClr val="69B340"/>
                </a:solidFill>
              </a:rPr>
              <a:t> et de service</a:t>
            </a:r>
            <a:r>
              <a:rPr lang="en-US" sz="2000"/>
              <a:t>. </a:t>
            </a:r>
            <a:r>
              <a:rPr lang="en-US" sz="2000">
                <a:solidFill>
                  <a:srgbClr val="A3C23C"/>
                </a:solidFill>
              </a:rPr>
              <a:t>​</a:t>
            </a:r>
            <a:endParaRPr lang="en-US" sz="2000">
              <a:solidFill>
                <a:srgbClr val="A3C23C"/>
              </a:solidFill>
              <a:cs typeface="Calibri"/>
            </a:endParaRPr>
          </a:p>
        </p:txBody>
      </p:sp>
      <p:sp>
        <p:nvSpPr>
          <p:cNvPr id="7" name="Slide Number Placeholder 6">
            <a:extLst>
              <a:ext uri="{FF2B5EF4-FFF2-40B4-BE49-F238E27FC236}">
                <a16:creationId xmlns:a16="http://schemas.microsoft.com/office/drawing/2014/main" id="{C42EC1AA-8277-3B4B-BB51-1DB80275D199}"/>
              </a:ext>
            </a:extLst>
          </p:cNvPr>
          <p:cNvSpPr>
            <a:spLocks noGrp="1"/>
          </p:cNvSpPr>
          <p:nvPr>
            <p:ph type="sldNum" sz="quarter" idx="4"/>
          </p:nvPr>
        </p:nvSpPr>
        <p:spPr/>
        <p:txBody>
          <a:bodyPr/>
          <a:lstStyle/>
          <a:p>
            <a:fld id="{8893C2FB-EF86-FD49-89EB-659751C15892}" type="slidenum">
              <a:rPr lang="en-US" smtClean="0"/>
              <a:t>37</a:t>
            </a:fld>
            <a:endParaRPr lang="en-US"/>
          </a:p>
        </p:txBody>
      </p:sp>
      <p:sp>
        <p:nvSpPr>
          <p:cNvPr id="19" name="Rectangle 18">
            <a:extLst>
              <a:ext uri="{FF2B5EF4-FFF2-40B4-BE49-F238E27FC236}">
                <a16:creationId xmlns:a16="http://schemas.microsoft.com/office/drawing/2014/main" id="{FAC10C53-CE1E-C07C-F017-8AB8465A632A}"/>
              </a:ext>
            </a:extLst>
          </p:cNvPr>
          <p:cNvSpPr/>
          <p:nvPr/>
        </p:nvSpPr>
        <p:spPr>
          <a:xfrm>
            <a:off x="0" y="-1"/>
            <a:ext cx="3563007" cy="1174139"/>
          </a:xfrm>
          <a:prstGeom prst="rect">
            <a:avLst/>
          </a:prstGeom>
          <a:solidFill>
            <a:srgbClr val="69B3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22" name="Picture 21" descr="Logo  Description automatically generated">
            <a:extLst>
              <a:ext uri="{FF2B5EF4-FFF2-40B4-BE49-F238E27FC236}">
                <a16:creationId xmlns:a16="http://schemas.microsoft.com/office/drawing/2014/main" id="{B376F3D2-7ED1-7B40-CA0B-45384B3D64D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230767"/>
            <a:ext cx="3563006" cy="712601"/>
          </a:xfrm>
          <a:prstGeom prst="rect">
            <a:avLst/>
          </a:prstGeom>
        </p:spPr>
      </p:pic>
      <p:pic>
        <p:nvPicPr>
          <p:cNvPr id="13" name="Picture 12" descr="Icon  Description automatically generated">
            <a:extLst>
              <a:ext uri="{FF2B5EF4-FFF2-40B4-BE49-F238E27FC236}">
                <a16:creationId xmlns:a16="http://schemas.microsoft.com/office/drawing/2014/main" id="{B91B2496-EC52-45F4-08D6-0ADC0A2ABE5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50633" y="3587364"/>
            <a:ext cx="1461339" cy="1461339"/>
          </a:xfrm>
          <a:prstGeom prst="rect">
            <a:avLst/>
          </a:prstGeom>
        </p:spPr>
      </p:pic>
      <p:sp>
        <p:nvSpPr>
          <p:cNvPr id="17" name="Text Placeholder 1">
            <a:extLst>
              <a:ext uri="{FF2B5EF4-FFF2-40B4-BE49-F238E27FC236}">
                <a16:creationId xmlns:a16="http://schemas.microsoft.com/office/drawing/2014/main" id="{30BBF45B-756D-2663-3D20-DC7F4904A854}"/>
              </a:ext>
            </a:extLst>
          </p:cNvPr>
          <p:cNvSpPr txBox="1">
            <a:spLocks/>
          </p:cNvSpPr>
          <p:nvPr/>
        </p:nvSpPr>
        <p:spPr>
          <a:xfrm>
            <a:off x="4719747" y="4868337"/>
            <a:ext cx="2523108" cy="702487"/>
          </a:xfrm>
          <a:prstGeom prst="rect">
            <a:avLst/>
          </a:prstGeom>
        </p:spPr>
        <p:txBody>
          <a:bodyPr vert="horz" lIns="91440" tIns="45720" rIns="91440" bIns="45720" anchor="t">
            <a:noAutofit/>
          </a:bodyPr>
          <a:lstStyle>
            <a:lvl1pPr marL="0" indent="0" algn="l" defTabSz="914400" rtl="0" eaLnBrk="1" latinLnBrk="0" hangingPunct="1">
              <a:lnSpc>
                <a:spcPct val="90000"/>
              </a:lnSpc>
              <a:spcBef>
                <a:spcPts val="1000"/>
              </a:spcBef>
              <a:buFont typeface="Arial"/>
              <a:buNone/>
              <a:defRPr sz="2600" b="0" i="0" kern="1200">
                <a:solidFill>
                  <a:schemeClr val="tx1">
                    <a:lumMod val="90000"/>
                    <a:lumOff val="10000"/>
                  </a:schemeClr>
                </a:solidFill>
                <a:latin typeface="+mn-lt"/>
                <a:ea typeface="Calibri Light" charset="0"/>
                <a:cs typeface="Calibri Light" charset="0"/>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100000"/>
              </a:lnSpc>
              <a:defRPr sz="2000" b="1"/>
            </a:pPr>
            <a:r>
              <a:rPr lang="en-US" err="1">
                <a:cs typeface="Calibri Light"/>
              </a:rPr>
              <a:t>Devenir</a:t>
            </a:r>
            <a:r>
              <a:rPr>
                <a:cs typeface="Calibri Light"/>
              </a:rPr>
              <a:t> des </a:t>
            </a:r>
            <a:r>
              <a:rPr err="1">
                <a:cs typeface="Calibri Light"/>
              </a:rPr>
              <a:t>apprenants</a:t>
            </a:r>
            <a:r>
              <a:rPr>
                <a:cs typeface="Calibri Light"/>
              </a:rPr>
              <a:t> </a:t>
            </a:r>
            <a:r>
              <a:rPr err="1">
                <a:cs typeface="Calibri Light"/>
              </a:rPr>
              <a:t>capables</a:t>
            </a:r>
            <a:endParaRPr lang="en-US" err="1">
              <a:cs typeface="Calibri Light"/>
            </a:endParaRPr>
          </a:p>
        </p:txBody>
      </p:sp>
      <p:pic>
        <p:nvPicPr>
          <p:cNvPr id="27" name="Picture 26" descr="Icon  Description automatically generated">
            <a:extLst>
              <a:ext uri="{FF2B5EF4-FFF2-40B4-BE49-F238E27FC236}">
                <a16:creationId xmlns:a16="http://schemas.microsoft.com/office/drawing/2014/main" id="{4BAF6CAB-4705-4731-9003-F1DFBA8F224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28010" y="3542699"/>
            <a:ext cx="1329728" cy="1329728"/>
          </a:xfrm>
          <a:prstGeom prst="rect">
            <a:avLst/>
          </a:prstGeom>
        </p:spPr>
      </p:pic>
      <p:pic>
        <p:nvPicPr>
          <p:cNvPr id="29" name="Picture 28" descr="Text, icon  Description automatically generated with medium confidence">
            <a:extLst>
              <a:ext uri="{FF2B5EF4-FFF2-40B4-BE49-F238E27FC236}">
                <a16:creationId xmlns:a16="http://schemas.microsoft.com/office/drawing/2014/main" id="{2B9A1C7A-A0F1-EB7C-34C1-1E59B2DCD9B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929343" y="3532206"/>
            <a:ext cx="1558849" cy="1558849"/>
          </a:xfrm>
          <a:prstGeom prst="rect">
            <a:avLst/>
          </a:prstGeom>
        </p:spPr>
      </p:pic>
      <p:sp>
        <p:nvSpPr>
          <p:cNvPr id="31" name="Text Placeholder 1">
            <a:extLst>
              <a:ext uri="{FF2B5EF4-FFF2-40B4-BE49-F238E27FC236}">
                <a16:creationId xmlns:a16="http://schemas.microsoft.com/office/drawing/2014/main" id="{CE6A8DC2-A2DE-657D-9DFC-C4720DE07321}"/>
              </a:ext>
            </a:extLst>
          </p:cNvPr>
          <p:cNvSpPr txBox="1">
            <a:spLocks/>
          </p:cNvSpPr>
          <p:nvPr/>
        </p:nvSpPr>
        <p:spPr>
          <a:xfrm>
            <a:off x="8317395" y="4861934"/>
            <a:ext cx="2784431" cy="702487"/>
          </a:xfrm>
          <a:prstGeom prst="rect">
            <a:avLst/>
          </a:prstGeom>
        </p:spPr>
        <p:txBody>
          <a:bodyPr vert="horz" lIns="91440" tIns="45720" rIns="91440" bIns="45720">
            <a:noAutofit/>
          </a:bodyPr>
          <a:lstStyle>
            <a:lvl1pPr marL="0" indent="0" algn="l" defTabSz="914400" rtl="0" eaLnBrk="1" latinLnBrk="0" hangingPunct="1">
              <a:lnSpc>
                <a:spcPct val="90000"/>
              </a:lnSpc>
              <a:spcBef>
                <a:spcPts val="1000"/>
              </a:spcBef>
              <a:buFont typeface="Arial"/>
              <a:buNone/>
              <a:defRPr sz="2600" b="0" i="0" kern="1200">
                <a:solidFill>
                  <a:schemeClr val="tx1">
                    <a:lumMod val="90000"/>
                    <a:lumOff val="10000"/>
                  </a:schemeClr>
                </a:solidFill>
                <a:latin typeface="+mn-lt"/>
                <a:ea typeface="Calibri Light" charset="0"/>
                <a:cs typeface="Calibri Light" charset="0"/>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100000"/>
              </a:lnSpc>
              <a:defRPr sz="2000" b="1"/>
            </a:pPr>
            <a:r>
              <a:t>Développer des compétences en anglais</a:t>
            </a:r>
          </a:p>
        </p:txBody>
      </p:sp>
      <p:sp>
        <p:nvSpPr>
          <p:cNvPr id="32" name="Text Placeholder 1">
            <a:extLst>
              <a:ext uri="{FF2B5EF4-FFF2-40B4-BE49-F238E27FC236}">
                <a16:creationId xmlns:a16="http://schemas.microsoft.com/office/drawing/2014/main" id="{B2BF4912-441D-3A95-0717-2E3D95E4072A}"/>
              </a:ext>
            </a:extLst>
          </p:cNvPr>
          <p:cNvSpPr txBox="1">
            <a:spLocks/>
          </p:cNvSpPr>
          <p:nvPr/>
        </p:nvSpPr>
        <p:spPr>
          <a:xfrm>
            <a:off x="1813068" y="4938774"/>
            <a:ext cx="1959613" cy="702487"/>
          </a:xfrm>
          <a:prstGeom prst="rect">
            <a:avLst/>
          </a:prstGeom>
        </p:spPr>
        <p:txBody>
          <a:bodyPr vert="horz" lIns="91440" tIns="45720" rIns="91440" bIns="45720">
            <a:noAutofit/>
          </a:bodyPr>
          <a:lstStyle>
            <a:lvl1pPr marL="0" indent="0" algn="l" defTabSz="914400" rtl="0" eaLnBrk="1" latinLnBrk="0" hangingPunct="1">
              <a:lnSpc>
                <a:spcPct val="90000"/>
              </a:lnSpc>
              <a:spcBef>
                <a:spcPts val="1000"/>
              </a:spcBef>
              <a:buFont typeface="Arial"/>
              <a:buNone/>
              <a:defRPr sz="2600" b="0" i="0" kern="1200">
                <a:solidFill>
                  <a:schemeClr val="tx1">
                    <a:lumMod val="90000"/>
                    <a:lumOff val="10000"/>
                  </a:schemeClr>
                </a:solidFill>
                <a:latin typeface="+mn-lt"/>
                <a:ea typeface="Calibri Light" charset="0"/>
                <a:cs typeface="Calibri Light" charset="0"/>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100000"/>
              </a:lnSpc>
              <a:defRPr sz="2000" b="1"/>
            </a:pPr>
            <a:r>
              <a:t>Accroître la foi en Jésus-Christ</a:t>
            </a:r>
          </a:p>
        </p:txBody>
      </p:sp>
    </p:spTree>
    <p:extLst>
      <p:ext uri="{BB962C8B-B14F-4D97-AF65-F5344CB8AC3E}">
        <p14:creationId xmlns:p14="http://schemas.microsoft.com/office/powerpoint/2010/main" val="307215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403070-DEEB-8143-B9ED-F146907EEFC3}"/>
              </a:ext>
            </a:extLst>
          </p:cNvPr>
          <p:cNvSpPr txBox="1"/>
          <p:nvPr/>
        </p:nvSpPr>
        <p:spPr>
          <a:xfrm>
            <a:off x="1364978" y="3687075"/>
            <a:ext cx="9195269" cy="707886"/>
          </a:xfrm>
          <a:prstGeom prst="rect">
            <a:avLst/>
          </a:prstGeom>
          <a:noFill/>
        </p:spPr>
        <p:txBody>
          <a:bodyPr wrap="square" lIns="91440" tIns="45720" rIns="91440" bIns="45720" anchor="t">
            <a:spAutoFit/>
          </a:bodyPr>
          <a:lstStyle/>
          <a:p>
            <a:pPr>
              <a:defRPr sz="2200"/>
            </a:pPr>
            <a:r>
              <a:rPr lang="en-US" sz="2000" err="1"/>
              <a:t>Comprennent</a:t>
            </a:r>
            <a:r>
              <a:rPr lang="en-US" sz="2000"/>
              <a:t> trois </a:t>
            </a:r>
            <a:r>
              <a:rPr lang="en-US" sz="2000" err="1"/>
              <a:t>cours</a:t>
            </a:r>
            <a:r>
              <a:rPr lang="en-US" sz="2000"/>
              <a:t> pour aider les </a:t>
            </a:r>
            <a:r>
              <a:rPr lang="en-US" sz="2000" err="1"/>
              <a:t>apprenants</a:t>
            </a:r>
            <a:r>
              <a:rPr lang="en-US" sz="2000"/>
              <a:t> à </a:t>
            </a:r>
            <a:r>
              <a:rPr lang="en-US" sz="2000" err="1"/>
              <a:t>progresser</a:t>
            </a:r>
            <a:r>
              <a:rPr lang="en-US" sz="2000"/>
              <a:t> d’un </a:t>
            </a:r>
            <a:r>
              <a:rPr lang="en-US" sz="2000" err="1"/>
              <a:t>niveau</a:t>
            </a:r>
            <a:r>
              <a:rPr lang="en-US" sz="2000"/>
              <a:t> </a:t>
            </a:r>
            <a:r>
              <a:rPr lang="en-US" sz="2000" b="1" err="1">
                <a:solidFill>
                  <a:srgbClr val="69B340"/>
                </a:solidFill>
              </a:rPr>
              <a:t>d’anglais</a:t>
            </a:r>
            <a:r>
              <a:rPr lang="en-US" sz="2000" b="1">
                <a:solidFill>
                  <a:srgbClr val="69B340"/>
                </a:solidFill>
              </a:rPr>
              <a:t> de base à un </a:t>
            </a:r>
            <a:r>
              <a:rPr lang="en-US" sz="2000" b="1" err="1">
                <a:solidFill>
                  <a:srgbClr val="69B340"/>
                </a:solidFill>
              </a:rPr>
              <a:t>niveau</a:t>
            </a:r>
            <a:r>
              <a:rPr lang="en-US" sz="2000" b="1">
                <a:solidFill>
                  <a:srgbClr val="69B340"/>
                </a:solidFill>
              </a:rPr>
              <a:t> </a:t>
            </a:r>
            <a:r>
              <a:rPr lang="en-US" sz="2000" b="1" err="1">
                <a:solidFill>
                  <a:srgbClr val="69B340"/>
                </a:solidFill>
              </a:rPr>
              <a:t>intermédiaire</a:t>
            </a:r>
            <a:r>
              <a:rPr lang="en-US" sz="2000" b="1">
                <a:solidFill>
                  <a:srgbClr val="69B340"/>
                </a:solidFill>
              </a:rPr>
              <a:t> </a:t>
            </a:r>
            <a:endParaRPr b="1">
              <a:solidFill>
                <a:srgbClr val="69B340"/>
              </a:solidFill>
            </a:endParaRPr>
          </a:p>
        </p:txBody>
      </p:sp>
      <p:sp>
        <p:nvSpPr>
          <p:cNvPr id="10" name="Content Placeholder 2">
            <a:extLst>
              <a:ext uri="{FF2B5EF4-FFF2-40B4-BE49-F238E27FC236}">
                <a16:creationId xmlns:a16="http://schemas.microsoft.com/office/drawing/2014/main" id="{1C0FA216-8D3D-3047-8BAE-DA379674949C}"/>
              </a:ext>
            </a:extLst>
          </p:cNvPr>
          <p:cNvSpPr txBox="1">
            <a:spLocks/>
          </p:cNvSpPr>
          <p:nvPr/>
        </p:nvSpPr>
        <p:spPr>
          <a:xfrm>
            <a:off x="1364978" y="4679868"/>
            <a:ext cx="9177357" cy="739588"/>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2200"/>
            </a:pPr>
            <a:r>
              <a:rPr lang="en-US" sz="2000" err="1"/>
              <a:t>Aident</a:t>
            </a:r>
            <a:r>
              <a:rPr lang="en-US" sz="2000"/>
              <a:t> les </a:t>
            </a:r>
            <a:r>
              <a:rPr lang="en-US" sz="2000" err="1"/>
              <a:t>apprenants</a:t>
            </a:r>
            <a:r>
              <a:rPr lang="en-US" sz="2000"/>
              <a:t> </a:t>
            </a:r>
            <a:r>
              <a:rPr lang="en-US" sz="2000" b="1">
                <a:solidFill>
                  <a:srgbClr val="69B340"/>
                </a:solidFill>
              </a:rPr>
              <a:t>à assumer la </a:t>
            </a:r>
            <a:r>
              <a:rPr lang="en-US" sz="2000" b="1" err="1">
                <a:solidFill>
                  <a:srgbClr val="69B340"/>
                </a:solidFill>
              </a:rPr>
              <a:t>responsabilité</a:t>
            </a:r>
            <a:r>
              <a:rPr lang="en-US" sz="2000" b="1">
                <a:solidFill>
                  <a:srgbClr val="69B340"/>
                </a:solidFill>
              </a:rPr>
              <a:t> de </a:t>
            </a:r>
            <a:r>
              <a:rPr lang="en-US" sz="2000" b="1" err="1">
                <a:solidFill>
                  <a:srgbClr val="69B340"/>
                </a:solidFill>
              </a:rPr>
              <a:t>leur</a:t>
            </a:r>
            <a:r>
              <a:rPr lang="en-US" sz="2000" b="1">
                <a:solidFill>
                  <a:srgbClr val="69B340"/>
                </a:solidFill>
              </a:rPr>
              <a:t> </a:t>
            </a:r>
            <a:r>
              <a:rPr lang="en-US" sz="2000" b="1" err="1">
                <a:solidFill>
                  <a:srgbClr val="69B340"/>
                </a:solidFill>
              </a:rPr>
              <a:t>apprentissage</a:t>
            </a:r>
            <a:r>
              <a:rPr lang="en-US" sz="2000" b="1">
                <a:solidFill>
                  <a:srgbClr val="69B340"/>
                </a:solidFill>
              </a:rPr>
              <a:t> </a:t>
            </a:r>
            <a:r>
              <a:rPr lang="en-US" sz="2000"/>
              <a:t>et à </a:t>
            </a:r>
            <a:r>
              <a:rPr lang="en-US" sz="2000" err="1"/>
              <a:t>s’enseigner</a:t>
            </a:r>
            <a:r>
              <a:rPr lang="en-US" sz="2000"/>
              <a:t> </a:t>
            </a:r>
            <a:r>
              <a:rPr lang="en-US" sz="2000" err="1"/>
              <a:t>mutuellement</a:t>
            </a:r>
            <a:r>
              <a:rPr lang="en-US" sz="2000"/>
              <a:t> à </a:t>
            </a:r>
            <a:r>
              <a:rPr lang="en-US" sz="2000" b="1" err="1">
                <a:solidFill>
                  <a:srgbClr val="69B340"/>
                </a:solidFill>
              </a:rPr>
              <a:t>apprendre</a:t>
            </a:r>
            <a:r>
              <a:rPr lang="en-US" sz="2000" b="1">
                <a:solidFill>
                  <a:srgbClr val="69B340"/>
                </a:solidFill>
              </a:rPr>
              <a:t> par </a:t>
            </a:r>
            <a:r>
              <a:rPr lang="en-US" sz="2000" b="1" err="1">
                <a:solidFill>
                  <a:srgbClr val="69B340"/>
                </a:solidFill>
              </a:rPr>
              <a:t>l’étude</a:t>
            </a:r>
            <a:r>
              <a:rPr lang="en-US" sz="2000" b="1">
                <a:solidFill>
                  <a:srgbClr val="69B340"/>
                </a:solidFill>
              </a:rPr>
              <a:t> et par</a:t>
            </a:r>
            <a:r>
              <a:rPr lang="en-US" sz="2000">
                <a:solidFill>
                  <a:srgbClr val="313031"/>
                </a:solidFill>
              </a:rPr>
              <a:t> </a:t>
            </a:r>
            <a:r>
              <a:rPr lang="en-US" sz="2000"/>
              <a:t>la </a:t>
            </a:r>
            <a:r>
              <a:rPr lang="en-US" sz="2000" err="1"/>
              <a:t>foi</a:t>
            </a:r>
            <a:endParaRPr lang="en-US" sz="2000" b="1" i="0" u="none" strike="noStrike" kern="1200" cap="none" spc="0" normalizeH="0" baseline="0" err="1">
              <a:ln>
                <a:noFill/>
              </a:ln>
              <a:solidFill>
                <a:srgbClr val="69B340"/>
              </a:solidFill>
              <a:effectLst/>
              <a:uLnTx/>
              <a:uFillTx/>
              <a:latin typeface="Calibri" panose="020F0502020204030204"/>
              <a:cs typeface="Calibri"/>
            </a:endParaRPr>
          </a:p>
        </p:txBody>
      </p:sp>
      <p:sp>
        <p:nvSpPr>
          <p:cNvPr id="5" name="TextBox 4">
            <a:extLst>
              <a:ext uri="{FF2B5EF4-FFF2-40B4-BE49-F238E27FC236}">
                <a16:creationId xmlns:a16="http://schemas.microsoft.com/office/drawing/2014/main" id="{CD13F077-4AC6-394F-B59D-28A4A9055A36}"/>
              </a:ext>
            </a:extLst>
          </p:cNvPr>
          <p:cNvSpPr txBox="1"/>
          <p:nvPr/>
        </p:nvSpPr>
        <p:spPr>
          <a:xfrm>
            <a:off x="1364977" y="5641307"/>
            <a:ext cx="8881001" cy="707886"/>
          </a:xfrm>
          <a:prstGeom prst="rect">
            <a:avLst/>
          </a:prstGeom>
          <a:noFill/>
        </p:spPr>
        <p:txBody>
          <a:bodyPr wrap="square" lIns="91440" tIns="45720" rIns="91440" bIns="45720" anchor="t">
            <a:spAutoFit/>
          </a:bodyPr>
          <a:lstStyle/>
          <a:p>
            <a:pPr>
              <a:defRPr sz="2200"/>
            </a:pPr>
            <a:r>
              <a:rPr lang="en-US" sz="2000" err="1"/>
              <a:t>EnglishConnect</a:t>
            </a:r>
            <a:r>
              <a:rPr lang="en-US" sz="2000"/>
              <a:t> 3 </a:t>
            </a:r>
            <a:r>
              <a:rPr lang="en-US" sz="2000" b="1" err="1">
                <a:solidFill>
                  <a:srgbClr val="69B340"/>
                </a:solidFill>
              </a:rPr>
              <a:t>prépare</a:t>
            </a:r>
            <a:r>
              <a:rPr lang="en-US" sz="2000" b="1">
                <a:solidFill>
                  <a:srgbClr val="69B340"/>
                </a:solidFill>
              </a:rPr>
              <a:t> les </a:t>
            </a:r>
            <a:r>
              <a:rPr lang="en-US" sz="2000" b="1" err="1">
                <a:solidFill>
                  <a:srgbClr val="69B340"/>
                </a:solidFill>
              </a:rPr>
              <a:t>apprenants</a:t>
            </a:r>
            <a:r>
              <a:rPr lang="en-US" sz="2000" b="1">
                <a:solidFill>
                  <a:srgbClr val="69B340"/>
                </a:solidFill>
              </a:rPr>
              <a:t> à </a:t>
            </a:r>
            <a:r>
              <a:rPr lang="en-US" sz="2000" b="1" err="1">
                <a:solidFill>
                  <a:srgbClr val="69B340"/>
                </a:solidFill>
              </a:rPr>
              <a:t>l’enseignement</a:t>
            </a:r>
            <a:r>
              <a:rPr lang="en-US" sz="2000" b="1">
                <a:solidFill>
                  <a:srgbClr val="69B340"/>
                </a:solidFill>
              </a:rPr>
              <a:t> </a:t>
            </a:r>
            <a:r>
              <a:rPr lang="en-US" sz="2000" b="1" err="1">
                <a:solidFill>
                  <a:srgbClr val="69B340"/>
                </a:solidFill>
              </a:rPr>
              <a:t>supérieur</a:t>
            </a:r>
            <a:r>
              <a:rPr lang="en-US" sz="2000" b="1">
                <a:solidFill>
                  <a:srgbClr val="69B340"/>
                </a:solidFill>
              </a:rPr>
              <a:t>, </a:t>
            </a:r>
            <a:r>
              <a:rPr lang="en-US" sz="2000" err="1">
                <a:solidFill>
                  <a:schemeClr val="accent6"/>
                </a:solidFill>
                <a:latin typeface="Calibri"/>
                <a:cs typeface="Calibri"/>
              </a:rPr>
              <a:t>en</a:t>
            </a:r>
            <a:r>
              <a:rPr lang="en-US" sz="2000">
                <a:solidFill>
                  <a:schemeClr val="accent6"/>
                </a:solidFill>
                <a:latin typeface="Calibri"/>
                <a:cs typeface="Calibri"/>
              </a:rPr>
              <a:t> particulier BYU-Pathway Worldwide</a:t>
            </a:r>
          </a:p>
        </p:txBody>
      </p:sp>
      <p:sp>
        <p:nvSpPr>
          <p:cNvPr id="4" name="Slide Number Placeholder 3">
            <a:extLst>
              <a:ext uri="{FF2B5EF4-FFF2-40B4-BE49-F238E27FC236}">
                <a16:creationId xmlns:a16="http://schemas.microsoft.com/office/drawing/2014/main" id="{2064DF69-4710-A046-A3A5-B3E2E9A52435}"/>
              </a:ext>
            </a:extLst>
          </p:cNvPr>
          <p:cNvSpPr>
            <a:spLocks noGrp="1"/>
          </p:cNvSpPr>
          <p:nvPr>
            <p:ph type="sldNum" sz="quarter" idx="4"/>
          </p:nvPr>
        </p:nvSpPr>
        <p:spPr/>
        <p:txBody>
          <a:bodyPr/>
          <a:lstStyle/>
          <a:p>
            <a:fld id="{8893C2FB-EF86-FD49-89EB-659751C15892}" type="slidenum">
              <a:rPr lang="en-US" smtClean="0"/>
              <a:t>38</a:t>
            </a:fld>
            <a:endParaRPr lang="en-US"/>
          </a:p>
        </p:txBody>
      </p:sp>
      <p:sp>
        <p:nvSpPr>
          <p:cNvPr id="12" name="Text Placeholder 1">
            <a:extLst>
              <a:ext uri="{FF2B5EF4-FFF2-40B4-BE49-F238E27FC236}">
                <a16:creationId xmlns:a16="http://schemas.microsoft.com/office/drawing/2014/main" id="{38205E5E-C618-8440-A113-CB41EC11E950}"/>
              </a:ext>
            </a:extLst>
          </p:cNvPr>
          <p:cNvSpPr txBox="1">
            <a:spLocks/>
          </p:cNvSpPr>
          <p:nvPr/>
        </p:nvSpPr>
        <p:spPr>
          <a:xfrm>
            <a:off x="3853470" y="367578"/>
            <a:ext cx="7852978" cy="456363"/>
          </a:xfrm>
          <a:prstGeom prst="rect">
            <a:avLst/>
          </a:prstGeom>
        </p:spPr>
        <p:txBody>
          <a:bodyPr vert="horz" lIns="91440" tIns="45720" rIns="91440" bIns="45720">
            <a:noAutofit/>
          </a:bodyPr>
          <a:lstStyle>
            <a:lvl1pPr marL="0" indent="0" algn="l" defTabSz="914400" rtl="0" eaLnBrk="1" latinLnBrk="0" hangingPunct="1">
              <a:lnSpc>
                <a:spcPct val="90000"/>
              </a:lnSpc>
              <a:spcBef>
                <a:spcPts val="1000"/>
              </a:spcBef>
              <a:buFont typeface="Arial"/>
              <a:buNone/>
              <a:defRPr sz="2600" b="0" i="0" kern="1200">
                <a:solidFill>
                  <a:schemeClr val="tx1">
                    <a:lumMod val="90000"/>
                    <a:lumOff val="10000"/>
                  </a:schemeClr>
                </a:solidFill>
                <a:latin typeface="+mn-lt"/>
                <a:ea typeface="Calibri Light" charset="0"/>
                <a:cs typeface="Calibri Light" charset="0"/>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defRPr sz="4400">
                <a:latin typeface="+mj-lt"/>
              </a:defRPr>
            </a:pPr>
            <a:r>
              <a:t>Cours EnglishConnect</a:t>
            </a:r>
          </a:p>
        </p:txBody>
      </p:sp>
      <p:sp>
        <p:nvSpPr>
          <p:cNvPr id="8" name="Rectangle 7">
            <a:extLst>
              <a:ext uri="{FF2B5EF4-FFF2-40B4-BE49-F238E27FC236}">
                <a16:creationId xmlns:a16="http://schemas.microsoft.com/office/drawing/2014/main" id="{E3A8FFCF-E578-2ED6-71FD-72364C316E3C}"/>
              </a:ext>
            </a:extLst>
          </p:cNvPr>
          <p:cNvSpPr/>
          <p:nvPr/>
        </p:nvSpPr>
        <p:spPr>
          <a:xfrm>
            <a:off x="0" y="-1"/>
            <a:ext cx="3563007" cy="1174139"/>
          </a:xfrm>
          <a:prstGeom prst="rect">
            <a:avLst/>
          </a:prstGeom>
          <a:solidFill>
            <a:srgbClr val="69B3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1" name="Picture 10" descr="Logo  Description automatically generated">
            <a:extLst>
              <a:ext uri="{FF2B5EF4-FFF2-40B4-BE49-F238E27FC236}">
                <a16:creationId xmlns:a16="http://schemas.microsoft.com/office/drawing/2014/main" id="{9DC994DA-F74B-3828-6B24-1B982CA055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230767"/>
            <a:ext cx="3563006" cy="712601"/>
          </a:xfrm>
          <a:prstGeom prst="rect">
            <a:avLst/>
          </a:prstGeom>
        </p:spPr>
      </p:pic>
      <p:pic>
        <p:nvPicPr>
          <p:cNvPr id="9" name="Picture 8" descr="A green and black rectangle with white text&#10;&#10;Description automatically generated">
            <a:extLst>
              <a:ext uri="{FF2B5EF4-FFF2-40B4-BE49-F238E27FC236}">
                <a16:creationId xmlns:a16="http://schemas.microsoft.com/office/drawing/2014/main" id="{D09F6A7E-8767-AB5F-5259-DC7B083CF1FB}"/>
              </a:ext>
            </a:extLst>
          </p:cNvPr>
          <p:cNvPicPr>
            <a:picLocks noChangeAspect="1"/>
          </p:cNvPicPr>
          <p:nvPr/>
        </p:nvPicPr>
        <p:blipFill>
          <a:blip r:embed="rId5"/>
          <a:stretch>
            <a:fillRect/>
          </a:stretch>
        </p:blipFill>
        <p:spPr>
          <a:xfrm>
            <a:off x="1394144" y="1730593"/>
            <a:ext cx="9403711" cy="1916288"/>
          </a:xfrm>
          <a:prstGeom prst="rect">
            <a:avLst/>
          </a:prstGeom>
        </p:spPr>
      </p:pic>
    </p:spTree>
    <p:extLst>
      <p:ext uri="{BB962C8B-B14F-4D97-AF65-F5344CB8AC3E}">
        <p14:creationId xmlns:p14="http://schemas.microsoft.com/office/powerpoint/2010/main" val="29013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1C276B-2A33-C049-AEF8-5AF88AD11664}"/>
              </a:ext>
            </a:extLst>
          </p:cNvPr>
          <p:cNvSpPr txBox="1">
            <a:spLocks/>
          </p:cNvSpPr>
          <p:nvPr/>
        </p:nvSpPr>
        <p:spPr>
          <a:xfrm>
            <a:off x="4612328" y="433780"/>
            <a:ext cx="6755593"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t>Comment nous servons les étudiants</a:t>
            </a:r>
          </a:p>
        </p:txBody>
      </p:sp>
      <p:sp>
        <p:nvSpPr>
          <p:cNvPr id="3" name="Rectangle 2">
            <a:extLst>
              <a:ext uri="{FF2B5EF4-FFF2-40B4-BE49-F238E27FC236}">
                <a16:creationId xmlns:a16="http://schemas.microsoft.com/office/drawing/2014/main" id="{2198D0CB-A244-3645-93EF-5E47B40A5F95}"/>
              </a:ext>
            </a:extLst>
          </p:cNvPr>
          <p:cNvSpPr/>
          <p:nvPr/>
        </p:nvSpPr>
        <p:spPr>
          <a:xfrm>
            <a:off x="4664176" y="1855331"/>
            <a:ext cx="5870841" cy="1190967"/>
          </a:xfrm>
          <a:prstGeom prst="rect">
            <a:avLst/>
          </a:prstGeom>
        </p:spPr>
        <p:txBody>
          <a:bodyPr wrap="square" lIns="91440" tIns="45720" rIns="91440" bIns="45720" anchor="t">
            <a:spAutoFit/>
          </a:bodyPr>
          <a:lstStyle/>
          <a:p>
            <a:pPr>
              <a:lnSpc>
                <a:spcPct val="110000"/>
              </a:lnSpc>
              <a:defRPr sz="2200"/>
            </a:pPr>
            <a:r>
              <a:t>BYU-Pathway fournit un soutien et des ressources; BYU-Idaho et Ensign College </a:t>
            </a:r>
            <a:r>
              <a:rPr lang="en-US"/>
              <a:t>délivrent</a:t>
            </a:r>
            <a:r>
              <a:t> les diplômes.</a:t>
            </a:r>
            <a:endParaRPr lang="en-US">
              <a:cs typeface="Calibri"/>
            </a:endParaRPr>
          </a:p>
        </p:txBody>
      </p:sp>
      <p:sp>
        <p:nvSpPr>
          <p:cNvPr id="4" name="Rectangle 3">
            <a:extLst>
              <a:ext uri="{FF2B5EF4-FFF2-40B4-BE49-F238E27FC236}">
                <a16:creationId xmlns:a16="http://schemas.microsoft.com/office/drawing/2014/main" id="{F181B19D-8554-ED4C-8221-8D164BD2AE03}"/>
              </a:ext>
            </a:extLst>
          </p:cNvPr>
          <p:cNvSpPr/>
          <p:nvPr/>
        </p:nvSpPr>
        <p:spPr>
          <a:xfrm>
            <a:off x="4664070" y="3271851"/>
            <a:ext cx="3060807" cy="2639184"/>
          </a:xfrm>
          <a:prstGeom prst="rect">
            <a:avLst/>
          </a:prstGeom>
        </p:spPr>
        <p:txBody>
          <a:bodyPr wrap="square" lIns="91440" tIns="45720" rIns="91440" bIns="45720" anchor="t">
            <a:spAutoFit/>
          </a:bodyPr>
          <a:lstStyle/>
          <a:p>
            <a:pPr>
              <a:defRPr sz="2400" b="1">
                <a:solidFill>
                  <a:srgbClr val="3A929D"/>
                </a:solidFill>
              </a:defRPr>
            </a:pPr>
            <a:r>
              <a:t>BYU-PATHWAY </a:t>
            </a:r>
            <a:br>
              <a:rPr lang="en-US" sz="2400" b="1"/>
            </a:br>
            <a:r>
              <a:rPr lang="en-US">
                <a:cs typeface="Calibri"/>
              </a:rPr>
              <a:t>WORLDWIDE</a:t>
            </a:r>
            <a:endParaRPr/>
          </a:p>
          <a:p>
            <a:pPr marL="342900" indent="-342900">
              <a:lnSpc>
                <a:spcPct val="150000"/>
              </a:lnSpc>
              <a:spcAft>
                <a:spcPts val="300"/>
              </a:spcAft>
              <a:buFont typeface="Arial"/>
              <a:buChar char="•"/>
              <a:defRPr sz="2000"/>
            </a:pPr>
            <a:r>
              <a:rPr lang="en-US" err="1"/>
              <a:t>Soutien</a:t>
            </a:r>
            <a:r>
              <a:rPr lang="en-US"/>
              <a:t> </a:t>
            </a:r>
            <a:r>
              <a:rPr lang="en-US" err="1"/>
              <a:t>en</a:t>
            </a:r>
            <a:r>
              <a:t> </a:t>
            </a:r>
            <a:r>
              <a:rPr err="1"/>
              <a:t>ligne</a:t>
            </a:r>
            <a:endParaRPr lang="en-US" sz="2000" err="1">
              <a:cs typeface="Calibri"/>
            </a:endParaRPr>
          </a:p>
          <a:p>
            <a:pPr marL="342900" indent="-342900">
              <a:spcAft>
                <a:spcPts val="300"/>
              </a:spcAft>
              <a:buFont typeface="Arial"/>
              <a:buChar char="•"/>
              <a:defRPr sz="2000"/>
            </a:pPr>
            <a:r>
              <a:rPr err="1"/>
              <a:t>Accès</a:t>
            </a:r>
            <a:r>
              <a:t> aux </a:t>
            </a:r>
            <a:r>
              <a:rPr err="1"/>
              <a:t>cours</a:t>
            </a:r>
            <a:endParaRPr lang="en-US" sz="2000" err="1">
              <a:cs typeface="Calibri"/>
            </a:endParaRPr>
          </a:p>
          <a:p>
            <a:pPr marL="342900" indent="-342900">
              <a:spcAft>
                <a:spcPts val="300"/>
              </a:spcAft>
              <a:buFont typeface="Arial"/>
              <a:buChar char="•"/>
              <a:defRPr sz="2000"/>
            </a:pPr>
            <a:r>
              <a:t>Conseil </a:t>
            </a:r>
            <a:r>
              <a:rPr err="1"/>
              <a:t>en</a:t>
            </a:r>
            <a:r>
              <a:t> matière de </a:t>
            </a:r>
            <a:r>
              <a:rPr err="1"/>
              <a:t>diplômes</a:t>
            </a:r>
            <a:endParaRPr lang="en-US" sz="2000" err="1">
              <a:cs typeface="Calibri"/>
            </a:endParaRPr>
          </a:p>
          <a:p>
            <a:pPr marL="342900" indent="-342900">
              <a:spcAft>
                <a:spcPts val="300"/>
              </a:spcAft>
              <a:buFont typeface="Arial"/>
              <a:buChar char="•"/>
              <a:defRPr sz="2000"/>
            </a:pPr>
            <a:r>
              <a:t>Inscription aux </a:t>
            </a:r>
            <a:r>
              <a:rPr err="1"/>
              <a:t>cours</a:t>
            </a:r>
            <a:endParaRPr lang="en-US" sz="2000" err="1">
              <a:cs typeface="Calibri" panose="020F0502020204030204"/>
            </a:endParaRPr>
          </a:p>
        </p:txBody>
      </p:sp>
      <p:sp>
        <p:nvSpPr>
          <p:cNvPr id="5" name="Rectangle 4">
            <a:extLst>
              <a:ext uri="{FF2B5EF4-FFF2-40B4-BE49-F238E27FC236}">
                <a16:creationId xmlns:a16="http://schemas.microsoft.com/office/drawing/2014/main" id="{0335E6F8-EF19-6242-8508-519A043B3930}"/>
              </a:ext>
            </a:extLst>
          </p:cNvPr>
          <p:cNvSpPr/>
          <p:nvPr/>
        </p:nvSpPr>
        <p:spPr>
          <a:xfrm>
            <a:off x="8246559" y="3272821"/>
            <a:ext cx="3161060" cy="1946687"/>
          </a:xfrm>
          <a:prstGeom prst="rect">
            <a:avLst/>
          </a:prstGeom>
        </p:spPr>
        <p:txBody>
          <a:bodyPr wrap="square" lIns="91440" tIns="45720" rIns="91440" bIns="45720" anchor="t">
            <a:spAutoFit/>
          </a:bodyPr>
          <a:lstStyle/>
          <a:p>
            <a:pPr>
              <a:defRPr sz="2400" b="1">
                <a:solidFill>
                  <a:srgbClr val="3A929D"/>
                </a:solidFill>
              </a:defRPr>
            </a:pPr>
            <a:r>
              <a:t>BYU-IDAHO &amp; </a:t>
            </a:r>
            <a:br>
              <a:rPr lang="en-US" sz="2400" b="1"/>
            </a:br>
            <a:r>
              <a:t>ENSIGN COLLEGE</a:t>
            </a:r>
          </a:p>
          <a:p>
            <a:pPr marL="342900" indent="-342900">
              <a:lnSpc>
                <a:spcPct val="150000"/>
              </a:lnSpc>
              <a:spcAft>
                <a:spcPts val="300"/>
              </a:spcAft>
              <a:buFont typeface="Arial"/>
              <a:buChar char="•"/>
              <a:defRPr sz="2000"/>
            </a:pPr>
            <a:r>
              <a:rPr lang="en-US" err="1"/>
              <a:t>Créer</a:t>
            </a:r>
            <a:r>
              <a:t> et </a:t>
            </a:r>
            <a:r>
              <a:rPr lang="en-US" err="1"/>
              <a:t>offrir</a:t>
            </a:r>
            <a:r>
              <a:t> des </a:t>
            </a:r>
            <a:r>
              <a:rPr lang="en-US" err="1"/>
              <a:t>cours</a:t>
            </a:r>
            <a:endParaRPr lang="en-US" sz="2000" err="1">
              <a:cs typeface="Calibri"/>
            </a:endParaRPr>
          </a:p>
          <a:p>
            <a:pPr marL="342900" indent="-342900">
              <a:spcAft>
                <a:spcPts val="300"/>
              </a:spcAft>
              <a:buFont typeface="Arial"/>
              <a:buChar char="•"/>
              <a:defRPr sz="2000"/>
            </a:pPr>
            <a:r>
              <a:rPr lang="en-US"/>
              <a:t>Certificats de subvention </a:t>
            </a:r>
            <a:br>
              <a:rPr lang="en-US"/>
            </a:br>
            <a:r>
              <a:t>et </a:t>
            </a:r>
            <a:r>
              <a:rPr lang="en-US"/>
              <a:t>diplômes</a:t>
            </a:r>
            <a:r>
              <a:t> </a:t>
            </a:r>
            <a:r>
              <a:rPr lang="en-US"/>
              <a:t>accrédités</a:t>
            </a:r>
            <a:endParaRPr lang="en-US" sz="2000">
              <a:cs typeface="Calibri"/>
            </a:endParaRPr>
          </a:p>
        </p:txBody>
      </p:sp>
      <p:sp>
        <p:nvSpPr>
          <p:cNvPr id="9" name="Slide Number Placeholder 3">
            <a:extLst>
              <a:ext uri="{FF2B5EF4-FFF2-40B4-BE49-F238E27FC236}">
                <a16:creationId xmlns:a16="http://schemas.microsoft.com/office/drawing/2014/main" id="{28C60AF8-9E04-484F-9046-81FA4743541F}"/>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3</a:t>
            </a:fld>
            <a:endParaRPr lang="en-US"/>
          </a:p>
        </p:txBody>
      </p:sp>
      <p:cxnSp>
        <p:nvCxnSpPr>
          <p:cNvPr id="7" name="Straight Connector 6">
            <a:extLst>
              <a:ext uri="{FF2B5EF4-FFF2-40B4-BE49-F238E27FC236}">
                <a16:creationId xmlns:a16="http://schemas.microsoft.com/office/drawing/2014/main" id="{2FDFA615-E1C4-504F-AEFA-040F29D02920}"/>
              </a:ext>
            </a:extLst>
          </p:cNvPr>
          <p:cNvCxnSpPr>
            <a:cxnSpLocks/>
          </p:cNvCxnSpPr>
          <p:nvPr/>
        </p:nvCxnSpPr>
        <p:spPr>
          <a:xfrm>
            <a:off x="7654427" y="3381141"/>
            <a:ext cx="0" cy="213679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8" name="Picture 17" descr="A yellow and black sign with black text&#10;&#10;Description automatically generated">
            <a:extLst>
              <a:ext uri="{FF2B5EF4-FFF2-40B4-BE49-F238E27FC236}">
                <a16:creationId xmlns:a16="http://schemas.microsoft.com/office/drawing/2014/main" id="{80F9482C-C2B7-6F9D-33C2-1D44B1310C81}"/>
              </a:ext>
            </a:extLst>
          </p:cNvPr>
          <p:cNvPicPr>
            <a:picLocks noChangeAspect="1"/>
          </p:cNvPicPr>
          <p:nvPr/>
        </p:nvPicPr>
        <p:blipFill>
          <a:blip r:embed="rId4"/>
          <a:stretch>
            <a:fillRect/>
          </a:stretch>
        </p:blipFill>
        <p:spPr>
          <a:xfrm>
            <a:off x="920014" y="1166908"/>
            <a:ext cx="2487523" cy="2798463"/>
          </a:xfrm>
          <a:prstGeom prst="rect">
            <a:avLst/>
          </a:prstGeom>
        </p:spPr>
      </p:pic>
    </p:spTree>
    <p:extLst>
      <p:ext uri="{BB962C8B-B14F-4D97-AF65-F5344CB8AC3E}">
        <p14:creationId xmlns:p14="http://schemas.microsoft.com/office/powerpoint/2010/main" val="101989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A person standing in front of a group of people posing for the camera  Description automatically generated">
            <a:extLst>
              <a:ext uri="{FF2B5EF4-FFF2-40B4-BE49-F238E27FC236}">
                <a16:creationId xmlns:a16="http://schemas.microsoft.com/office/drawing/2014/main" id="{D9191A2E-04EE-429A-8871-9D5581EED78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2" y="1302748"/>
            <a:ext cx="6401816" cy="4244259"/>
          </a:xfrm>
          <a:prstGeom prst="rect">
            <a:avLst/>
          </a:prstGeom>
        </p:spPr>
      </p:pic>
      <p:sp>
        <p:nvSpPr>
          <p:cNvPr id="7" name="TextBox 6">
            <a:extLst>
              <a:ext uri="{FF2B5EF4-FFF2-40B4-BE49-F238E27FC236}">
                <a16:creationId xmlns:a16="http://schemas.microsoft.com/office/drawing/2014/main" id="{816C2258-025C-C243-8098-581E6CD6C09D}"/>
              </a:ext>
            </a:extLst>
          </p:cNvPr>
          <p:cNvSpPr txBox="1"/>
          <p:nvPr/>
        </p:nvSpPr>
        <p:spPr>
          <a:xfrm>
            <a:off x="7015214" y="3911286"/>
            <a:ext cx="4530738" cy="584775"/>
          </a:xfrm>
          <a:prstGeom prst="rect">
            <a:avLst/>
          </a:prstGeom>
          <a:noFill/>
        </p:spPr>
        <p:txBody>
          <a:bodyPr wrap="square">
            <a:spAutoFit/>
          </a:bodyPr>
          <a:lstStyle/>
          <a:p>
            <a:pPr lvl="0" algn="ctr">
              <a:defRPr sz="3200" b="1" i="1">
                <a:solidFill>
                  <a:srgbClr val="69B340"/>
                </a:solidFill>
              </a:defRPr>
            </a:pPr>
            <a:r>
              <a:t>EnglishConnect.org/join</a:t>
            </a:r>
          </a:p>
        </p:txBody>
      </p:sp>
      <p:pic>
        <p:nvPicPr>
          <p:cNvPr id="5" name="Picture 4">
            <a:extLst>
              <a:ext uri="{FF2B5EF4-FFF2-40B4-BE49-F238E27FC236}">
                <a16:creationId xmlns:a16="http://schemas.microsoft.com/office/drawing/2014/main" id="{ECB04300-8F09-C9C4-403A-5B9435B1D669}"/>
              </a:ext>
            </a:extLst>
          </p:cNvPr>
          <p:cNvPicPr>
            <a:picLocks noChangeAspect="1"/>
          </p:cNvPicPr>
          <p:nvPr/>
        </p:nvPicPr>
        <p:blipFill>
          <a:blip r:embed="rId3"/>
          <a:stretch>
            <a:fillRect/>
          </a:stretch>
        </p:blipFill>
        <p:spPr>
          <a:xfrm>
            <a:off x="6446177" y="2587728"/>
            <a:ext cx="5631548" cy="1126610"/>
          </a:xfrm>
          <a:prstGeom prst="rect">
            <a:avLst/>
          </a:prstGeom>
        </p:spPr>
      </p:pic>
    </p:spTree>
    <p:extLst>
      <p:ext uri="{BB962C8B-B14F-4D97-AF65-F5344CB8AC3E}">
        <p14:creationId xmlns:p14="http://schemas.microsoft.com/office/powerpoint/2010/main" val="81264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C7C379-95DF-CF47-A718-FA0F19C84F95}"/>
              </a:ext>
            </a:extLst>
          </p:cNvPr>
          <p:cNvSpPr>
            <a:spLocks noGrp="1"/>
          </p:cNvSpPr>
          <p:nvPr>
            <p:ph type="sldNum" sz="quarter" idx="4294967295"/>
          </p:nvPr>
        </p:nvSpPr>
        <p:spPr>
          <a:xfrm>
            <a:off x="8796528" y="6355080"/>
            <a:ext cx="2743200" cy="365125"/>
          </a:xfrm>
        </p:spPr>
        <p:txBody>
          <a:bodyPr/>
          <a:lstStyle/>
          <a:p>
            <a:fld id="{8893C2FB-EF86-FD49-89EB-659751C15892}" type="slidenum">
              <a:rPr lang="en-US" smtClean="0"/>
              <a:t>4</a:t>
            </a:fld>
            <a:endParaRPr lang="en-US"/>
          </a:p>
        </p:txBody>
      </p:sp>
      <p:sp>
        <p:nvSpPr>
          <p:cNvPr id="22" name="TextBox 21">
            <a:extLst>
              <a:ext uri="{FF2B5EF4-FFF2-40B4-BE49-F238E27FC236}">
                <a16:creationId xmlns:a16="http://schemas.microsoft.com/office/drawing/2014/main" id="{7D9F19DE-3952-F044-B320-A0E2F533E279}"/>
              </a:ext>
            </a:extLst>
          </p:cNvPr>
          <p:cNvSpPr txBox="1"/>
          <p:nvPr/>
        </p:nvSpPr>
        <p:spPr>
          <a:xfrm>
            <a:off x="785369" y="2774426"/>
            <a:ext cx="327239" cy="461665"/>
          </a:xfrm>
          <a:prstGeom prst="rect">
            <a:avLst/>
          </a:prstGeom>
          <a:noFill/>
        </p:spPr>
        <p:txBody>
          <a:bodyPr wrap="square">
            <a:spAutoFit/>
          </a:bodyPr>
          <a:lstStyle/>
          <a:p>
            <a:pPr>
              <a:defRPr sz="2400" b="1">
                <a:solidFill>
                  <a:schemeClr val="bg1"/>
                </a:solidFill>
              </a:defRPr>
            </a:pPr>
            <a:r>
              <a:t>2</a:t>
            </a:r>
          </a:p>
        </p:txBody>
      </p:sp>
      <p:sp>
        <p:nvSpPr>
          <p:cNvPr id="6" name="Rectangle 5">
            <a:extLst>
              <a:ext uri="{FF2B5EF4-FFF2-40B4-BE49-F238E27FC236}">
                <a16:creationId xmlns:a16="http://schemas.microsoft.com/office/drawing/2014/main" id="{655E97C9-33F8-118B-FDD6-2BCBC8DD2D15}"/>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7" name="Picture 6" descr="Text  Description automatically generated">
            <a:extLst>
              <a:ext uri="{FF2B5EF4-FFF2-40B4-BE49-F238E27FC236}">
                <a16:creationId xmlns:a16="http://schemas.microsoft.com/office/drawing/2014/main" id="{CDCE4342-949B-F53F-0063-5550991BF1E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5" name="Rectangle 4">
            <a:extLst>
              <a:ext uri="{FF2B5EF4-FFF2-40B4-BE49-F238E27FC236}">
                <a16:creationId xmlns:a16="http://schemas.microsoft.com/office/drawing/2014/main" id="{7615F437-AACA-9175-406B-64C66D810847}"/>
              </a:ext>
            </a:extLst>
          </p:cNvPr>
          <p:cNvSpPr/>
          <p:nvPr/>
        </p:nvSpPr>
        <p:spPr>
          <a:xfrm>
            <a:off x="5605306" y="1313352"/>
            <a:ext cx="6274927" cy="37990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4320" tIns="182880" rIns="274320" bIns="45720" anchor="t" anchorCtr="0"/>
          <a:lstStyle/>
          <a:p>
            <a:pPr marL="285750" indent="-285750">
              <a:spcAft>
                <a:spcPts val="1200"/>
              </a:spcAft>
              <a:buFont typeface="Arial" panose="020B0604020202020204" pitchFamily="34" charset="0"/>
              <a:buChar char="•"/>
              <a:defRPr sz="1900">
                <a:solidFill>
                  <a:schemeClr val="tx1"/>
                </a:solidFill>
                <a:ea typeface="+mn-lt"/>
                <a:cs typeface="+mn-lt"/>
              </a:defRPr>
            </a:pPr>
            <a:r>
              <a:rPr dirty="0" err="1"/>
              <a:t>Réduction</a:t>
            </a:r>
            <a:r>
              <a:rPr dirty="0"/>
              <a:t> des </a:t>
            </a:r>
            <a:r>
              <a:rPr dirty="0" err="1"/>
              <a:t>coûts</a:t>
            </a:r>
            <a:endParaRPr lang="en-US" dirty="0">
              <a:solidFill>
                <a:schemeClr val="tx1"/>
              </a:solidFill>
              <a:cs typeface="Calibri"/>
            </a:endParaRPr>
          </a:p>
          <a:p>
            <a:pPr marL="285750" indent="-285750">
              <a:spcAft>
                <a:spcPts val="1200"/>
              </a:spcAft>
              <a:buFont typeface="Arial" panose="020B0604020202020204" pitchFamily="34" charset="0"/>
              <a:buChar char="•"/>
              <a:defRPr sz="1900">
                <a:solidFill>
                  <a:schemeClr val="tx2"/>
                </a:solidFill>
              </a:defRPr>
            </a:pPr>
            <a:r>
              <a:rPr dirty="0"/>
              <a:t>Six </a:t>
            </a:r>
            <a:r>
              <a:rPr dirty="0" err="1"/>
              <a:t>cours</a:t>
            </a:r>
            <a:r>
              <a:rPr dirty="0"/>
              <a:t> de base – </a:t>
            </a:r>
            <a:r>
              <a:rPr dirty="0" err="1"/>
              <a:t>tous</a:t>
            </a:r>
            <a:r>
              <a:rPr dirty="0"/>
              <a:t> </a:t>
            </a:r>
            <a:r>
              <a:rPr dirty="0" err="1"/>
              <a:t>comptent</a:t>
            </a:r>
            <a:r>
              <a:rPr dirty="0"/>
              <a:t> </a:t>
            </a:r>
            <a:br>
              <a:rPr lang="en-US" dirty="0"/>
            </a:br>
            <a:r>
              <a:rPr dirty="0"/>
              <a:t>pour </a:t>
            </a:r>
            <a:r>
              <a:rPr dirty="0" err="1"/>
              <a:t>l’obtention</a:t>
            </a:r>
            <a:r>
              <a:rPr dirty="0"/>
              <a:t> d’un </a:t>
            </a:r>
            <a:r>
              <a:rPr dirty="0" err="1"/>
              <a:t>diplôme</a:t>
            </a:r>
            <a:endParaRPr lang="en-US" dirty="0">
              <a:solidFill>
                <a:schemeClr val="tx2"/>
              </a:solidFill>
              <a:cs typeface="Calibri"/>
            </a:endParaRPr>
          </a:p>
          <a:p>
            <a:pPr marL="285750" indent="-285750">
              <a:spcAft>
                <a:spcPts val="1200"/>
              </a:spcAft>
              <a:buFont typeface="Arial" panose="020B0604020202020204" pitchFamily="34" charset="0"/>
              <a:buChar char="•"/>
              <a:defRPr sz="1900">
                <a:solidFill>
                  <a:schemeClr val="tx2"/>
                </a:solidFill>
              </a:defRPr>
            </a:pPr>
            <a:r>
              <a:rPr lang="en-US" dirty="0"/>
              <a:t>Des </a:t>
            </a:r>
            <a:r>
              <a:rPr lang="en-US" dirty="0" err="1"/>
              <a:t>rassemblements</a:t>
            </a:r>
            <a:r>
              <a:rPr dirty="0"/>
              <a:t> </a:t>
            </a:r>
            <a:r>
              <a:rPr dirty="0" err="1"/>
              <a:t>hebdomadaires</a:t>
            </a:r>
            <a:r>
              <a:rPr dirty="0"/>
              <a:t> (</a:t>
            </a:r>
            <a:r>
              <a:rPr dirty="0" err="1"/>
              <a:t>en</a:t>
            </a:r>
            <a:r>
              <a:rPr dirty="0"/>
              <a:t> </a:t>
            </a:r>
            <a:r>
              <a:rPr dirty="0" err="1"/>
              <a:t>ligne</a:t>
            </a:r>
            <a:r>
              <a:rPr dirty="0"/>
              <a:t> </a:t>
            </a:r>
            <a:r>
              <a:rPr dirty="0" err="1"/>
              <a:t>ou</a:t>
            </a:r>
            <a:r>
              <a:rPr dirty="0"/>
              <a:t> </a:t>
            </a:r>
            <a:r>
              <a:rPr dirty="0" err="1"/>
              <a:t>en</a:t>
            </a:r>
            <a:r>
              <a:rPr dirty="0"/>
              <a:t> </a:t>
            </a:r>
            <a:r>
              <a:rPr dirty="0" err="1"/>
              <a:t>personne</a:t>
            </a:r>
            <a:r>
              <a:rPr dirty="0"/>
              <a:t>) pendant les trois premiers </a:t>
            </a:r>
            <a:r>
              <a:rPr dirty="0" err="1"/>
              <a:t>trimestres</a:t>
            </a:r>
            <a:r>
              <a:rPr dirty="0"/>
              <a:t> de bloc pour un </a:t>
            </a:r>
            <a:r>
              <a:rPr dirty="0" err="1"/>
              <a:t>soutien</a:t>
            </a:r>
            <a:r>
              <a:rPr dirty="0"/>
              <a:t> </a:t>
            </a:r>
            <a:r>
              <a:rPr dirty="0" err="1"/>
              <a:t>supplémentaire</a:t>
            </a:r>
            <a:endParaRPr lang="en-US" dirty="0">
              <a:solidFill>
                <a:schemeClr val="tx2"/>
              </a:solidFill>
              <a:cs typeface="Calibri"/>
            </a:endParaRPr>
          </a:p>
          <a:p>
            <a:pPr marL="285750" indent="-285750">
              <a:spcAft>
                <a:spcPts val="1200"/>
              </a:spcAft>
              <a:buFont typeface="Arial" panose="020B0604020202020204" pitchFamily="34" charset="0"/>
              <a:buChar char="•"/>
              <a:defRPr sz="1900">
                <a:solidFill>
                  <a:schemeClr val="tx2"/>
                </a:solidFill>
              </a:defRPr>
            </a:pPr>
            <a:r>
              <a:rPr dirty="0" err="1"/>
              <a:t>Aucun</a:t>
            </a:r>
            <a:r>
              <a:rPr dirty="0"/>
              <a:t> </a:t>
            </a:r>
            <a:r>
              <a:rPr lang="en-US" dirty="0" err="1">
                <a:ea typeface="+mn-lt"/>
                <a:cs typeface="+mn-lt"/>
              </a:rPr>
              <a:t>diplôme</a:t>
            </a:r>
            <a:r>
              <a:rPr lang="en-US" dirty="0">
                <a:ea typeface="+mn-lt"/>
                <a:cs typeface="+mn-lt"/>
              </a:rPr>
              <a:t> </a:t>
            </a:r>
            <a:r>
              <a:rPr lang="en-US" dirty="0" err="1"/>
              <a:t>d’études</a:t>
            </a:r>
            <a:r>
              <a:rPr dirty="0"/>
              <a:t> </a:t>
            </a:r>
            <a:r>
              <a:rPr dirty="0" err="1"/>
              <a:t>secondaires</a:t>
            </a:r>
            <a:r>
              <a:rPr dirty="0"/>
              <a:t> </a:t>
            </a:r>
            <a:r>
              <a:rPr dirty="0" err="1"/>
              <a:t>requis</a:t>
            </a:r>
            <a:r>
              <a:rPr dirty="0"/>
              <a:t> </a:t>
            </a:r>
            <a:br>
              <a:rPr lang="en-US" dirty="0"/>
            </a:br>
            <a:r>
              <a:rPr dirty="0"/>
              <a:t>(pour </a:t>
            </a:r>
            <a:r>
              <a:rPr dirty="0" err="1"/>
              <a:t>l’âge</a:t>
            </a:r>
            <a:r>
              <a:rPr dirty="0"/>
              <a:t> 1</a:t>
            </a:r>
            <a:r>
              <a:rPr lang="en-US" dirty="0"/>
              <a:t>8</a:t>
            </a:r>
            <a:r>
              <a:rPr dirty="0"/>
              <a:t>+)</a:t>
            </a:r>
            <a:endParaRPr lang="en-US" dirty="0">
              <a:solidFill>
                <a:schemeClr val="tx2"/>
              </a:solidFill>
              <a:cs typeface="Calibri"/>
            </a:endParaRPr>
          </a:p>
          <a:p>
            <a:pPr marL="285750" indent="-285750">
              <a:spcAft>
                <a:spcPts val="1200"/>
              </a:spcAft>
              <a:buFont typeface="Arial" panose="020B0604020202020204" pitchFamily="34" charset="0"/>
              <a:buChar char="•"/>
              <a:defRPr sz="1900">
                <a:solidFill>
                  <a:schemeClr val="tx1"/>
                </a:solidFill>
                <a:ea typeface="+mn-lt"/>
                <a:cs typeface="+mn-lt"/>
              </a:defRPr>
            </a:pPr>
            <a:r>
              <a:rPr dirty="0"/>
              <a:t>Une </a:t>
            </a:r>
            <a:r>
              <a:rPr dirty="0" err="1"/>
              <a:t>évaluation</a:t>
            </a:r>
            <a:r>
              <a:rPr dirty="0"/>
              <a:t> </a:t>
            </a:r>
            <a:r>
              <a:rPr dirty="0" err="1"/>
              <a:t>en</a:t>
            </a:r>
            <a:r>
              <a:rPr dirty="0"/>
              <a:t> </a:t>
            </a:r>
            <a:r>
              <a:rPr dirty="0" err="1"/>
              <a:t>anglais</a:t>
            </a:r>
            <a:r>
              <a:rPr dirty="0"/>
              <a:t> </a:t>
            </a:r>
            <a:r>
              <a:rPr dirty="0" err="1"/>
              <a:t>est</a:t>
            </a:r>
            <a:r>
              <a:rPr dirty="0"/>
              <a:t> </a:t>
            </a:r>
            <a:r>
              <a:rPr dirty="0" err="1"/>
              <a:t>requise</a:t>
            </a:r>
            <a:r>
              <a:rPr lang="en-US" dirty="0"/>
              <a:t> car </a:t>
            </a:r>
            <a:r>
              <a:rPr lang="en-US" dirty="0" err="1"/>
              <a:t>tous</a:t>
            </a:r>
            <a:r>
              <a:rPr dirty="0"/>
              <a:t> les </a:t>
            </a:r>
            <a:r>
              <a:rPr dirty="0" err="1"/>
              <a:t>cours</a:t>
            </a:r>
            <a:r>
              <a:rPr dirty="0"/>
              <a:t> </a:t>
            </a:r>
            <a:r>
              <a:rPr dirty="0" err="1"/>
              <a:t>sont</a:t>
            </a:r>
            <a:r>
              <a:rPr dirty="0"/>
              <a:t> </a:t>
            </a:r>
            <a:r>
              <a:rPr dirty="0" err="1"/>
              <a:t>en</a:t>
            </a:r>
            <a:r>
              <a:rPr dirty="0"/>
              <a:t> </a:t>
            </a:r>
            <a:r>
              <a:rPr dirty="0" err="1"/>
              <a:t>anglais</a:t>
            </a:r>
            <a:r>
              <a:rPr dirty="0"/>
              <a:t>.</a:t>
            </a:r>
          </a:p>
          <a:p>
            <a:pPr marL="285750" indent="-285750">
              <a:spcAft>
                <a:spcPts val="1200"/>
              </a:spcAft>
              <a:buFont typeface="Arial" panose="020B0604020202020204" pitchFamily="34" charset="0"/>
              <a:buChar char="•"/>
              <a:defRPr sz="1900">
                <a:solidFill>
                  <a:schemeClr val="tx1"/>
                </a:solidFill>
                <a:ea typeface="+mn-lt"/>
                <a:cs typeface="+mn-lt"/>
              </a:defRPr>
            </a:pPr>
            <a:r>
              <a:rPr dirty="0" err="1"/>
              <a:t>EnglishConnect</a:t>
            </a:r>
            <a:r>
              <a:rPr dirty="0"/>
              <a:t>, un </a:t>
            </a:r>
            <a:r>
              <a:rPr dirty="0" err="1"/>
              <a:t>programme</a:t>
            </a:r>
            <a:r>
              <a:rPr dirty="0"/>
              <a:t> </a:t>
            </a:r>
            <a:r>
              <a:rPr dirty="0" err="1"/>
              <a:t>d’apprentissage</a:t>
            </a:r>
            <a:r>
              <a:rPr dirty="0"/>
              <a:t> des </a:t>
            </a:r>
            <a:r>
              <a:rPr dirty="0" err="1"/>
              <a:t>langues</a:t>
            </a:r>
            <a:r>
              <a:rPr dirty="0"/>
              <a:t>, </a:t>
            </a:r>
            <a:r>
              <a:rPr dirty="0" err="1"/>
              <a:t>est</a:t>
            </a:r>
            <a:r>
              <a:rPr dirty="0"/>
              <a:t> </a:t>
            </a:r>
            <a:r>
              <a:rPr dirty="0" err="1"/>
              <a:t>une</a:t>
            </a:r>
            <a:r>
              <a:rPr dirty="0"/>
              <a:t> </a:t>
            </a:r>
            <a:r>
              <a:rPr dirty="0" err="1"/>
              <a:t>excellente</a:t>
            </a:r>
            <a:r>
              <a:rPr dirty="0"/>
              <a:t> option pour </a:t>
            </a:r>
            <a:r>
              <a:rPr dirty="0" err="1"/>
              <a:t>ceux</a:t>
            </a:r>
            <a:r>
              <a:rPr dirty="0"/>
              <a:t> qui </a:t>
            </a:r>
            <a:r>
              <a:rPr dirty="0" err="1"/>
              <a:t>ont</a:t>
            </a:r>
            <a:r>
              <a:rPr dirty="0"/>
              <a:t> </a:t>
            </a:r>
            <a:r>
              <a:rPr dirty="0" err="1"/>
              <a:t>besoin</a:t>
            </a:r>
            <a:r>
              <a:rPr dirty="0"/>
              <a:t> de </a:t>
            </a:r>
            <a:r>
              <a:rPr dirty="0" err="1"/>
              <a:t>développer</a:t>
            </a:r>
            <a:r>
              <a:rPr dirty="0"/>
              <a:t> </a:t>
            </a:r>
            <a:r>
              <a:rPr dirty="0" err="1"/>
              <a:t>ou</a:t>
            </a:r>
            <a:r>
              <a:rPr dirty="0"/>
              <a:t> </a:t>
            </a:r>
            <a:r>
              <a:rPr dirty="0" err="1"/>
              <a:t>d’améliorer</a:t>
            </a:r>
            <a:r>
              <a:rPr dirty="0"/>
              <a:t> </a:t>
            </a:r>
            <a:r>
              <a:rPr dirty="0" err="1"/>
              <a:t>leurs</a:t>
            </a:r>
            <a:r>
              <a:rPr dirty="0"/>
              <a:t> </a:t>
            </a:r>
            <a:r>
              <a:rPr dirty="0" err="1"/>
              <a:t>compétences</a:t>
            </a:r>
            <a:r>
              <a:rPr dirty="0"/>
              <a:t> </a:t>
            </a:r>
            <a:r>
              <a:rPr dirty="0" err="1"/>
              <a:t>en</a:t>
            </a:r>
            <a:r>
              <a:rPr dirty="0"/>
              <a:t> </a:t>
            </a:r>
            <a:r>
              <a:rPr dirty="0" err="1"/>
              <a:t>anglais</a:t>
            </a:r>
            <a:r>
              <a:rPr dirty="0"/>
              <a:t>.</a:t>
            </a:r>
            <a:endParaRPr lang="en-US" dirty="0">
              <a:solidFill>
                <a:schemeClr val="tx1"/>
              </a:solidFill>
            </a:endParaRPr>
          </a:p>
          <a:p>
            <a:pPr>
              <a:spcAft>
                <a:spcPts val="1200"/>
              </a:spcAft>
            </a:pPr>
            <a:endParaRPr lang="en-US" dirty="0">
              <a:solidFill>
                <a:schemeClr val="tx2"/>
              </a:solidFill>
              <a:ea typeface="Calibri" panose="020F0502020204030204"/>
              <a:cs typeface="Calibri"/>
            </a:endParaRPr>
          </a:p>
          <a:p>
            <a:pPr marL="342900" indent="-342900">
              <a:spcAft>
                <a:spcPts val="1000"/>
              </a:spcAft>
              <a:buFont typeface="Arial" panose="020B0604020202020204" pitchFamily="34" charset="0"/>
              <a:buChar char="•"/>
            </a:pPr>
            <a:endParaRPr lang="en-US" sz="1900" b="1" dirty="0">
              <a:solidFill>
                <a:schemeClr val="tx2"/>
              </a:solidFill>
              <a:cs typeface="Calibri"/>
            </a:endParaRPr>
          </a:p>
          <a:p>
            <a:pPr>
              <a:spcAft>
                <a:spcPts val="1000"/>
              </a:spcAft>
            </a:pPr>
            <a:endParaRPr lang="en-US" sz="1900" b="1" dirty="0">
              <a:solidFill>
                <a:schemeClr val="tx2"/>
              </a:solidFill>
              <a:cs typeface="Calibri"/>
            </a:endParaRPr>
          </a:p>
          <a:p>
            <a:pPr marL="342900" indent="-342900">
              <a:buFont typeface="Arial" panose="020B0604020202020204" pitchFamily="34" charset="0"/>
              <a:buChar char="•"/>
            </a:pPr>
            <a:endParaRPr lang="en-US" sz="1900" b="1" dirty="0">
              <a:solidFill>
                <a:schemeClr val="tx2"/>
              </a:solidFill>
              <a:cs typeface="Calibri"/>
            </a:endParaRPr>
          </a:p>
          <a:p>
            <a:endParaRPr lang="en-US" sz="1900" dirty="0">
              <a:solidFill>
                <a:schemeClr val="tx2">
                  <a:lumMod val="90000"/>
                  <a:lumOff val="10000"/>
                </a:schemeClr>
              </a:solidFill>
              <a:cs typeface="Calibri"/>
            </a:endParaRPr>
          </a:p>
        </p:txBody>
      </p:sp>
      <p:sp>
        <p:nvSpPr>
          <p:cNvPr id="9" name="Text Placeholder 1">
            <a:extLst>
              <a:ext uri="{FF2B5EF4-FFF2-40B4-BE49-F238E27FC236}">
                <a16:creationId xmlns:a16="http://schemas.microsoft.com/office/drawing/2014/main" id="{BB15C4F1-E9E5-652F-3489-C6E81DA9DC88}"/>
              </a:ext>
            </a:extLst>
          </p:cNvPr>
          <p:cNvSpPr txBox="1">
            <a:spLocks/>
          </p:cNvSpPr>
          <p:nvPr/>
        </p:nvSpPr>
        <p:spPr>
          <a:xfrm>
            <a:off x="5735423" y="30423"/>
            <a:ext cx="6755593" cy="1258500"/>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defRPr sz="4400">
                <a:latin typeface="+mj-lt"/>
              </a:defRPr>
            </a:pPr>
            <a:r>
              <a:rPr lang="en-US"/>
              <a:t>Commencer</a:t>
            </a:r>
            <a:r>
              <a:t> avec </a:t>
            </a:r>
            <a:br>
              <a:rPr lang="en-US" sz="4400">
                <a:latin typeface="+mj-lt"/>
              </a:rPr>
            </a:br>
            <a:r>
              <a:rPr err="1"/>
              <a:t>PathwayConnect</a:t>
            </a:r>
            <a:endParaRPr lang="en-US" err="1">
              <a:cs typeface="Calibri Light"/>
            </a:endParaRPr>
          </a:p>
        </p:txBody>
      </p:sp>
      <p:pic>
        <p:nvPicPr>
          <p:cNvPr id="12" name="Picture 11">
            <a:extLst>
              <a:ext uri="{FF2B5EF4-FFF2-40B4-BE49-F238E27FC236}">
                <a16:creationId xmlns:a16="http://schemas.microsoft.com/office/drawing/2014/main" id="{848AE5ED-AEA5-53A8-FEEA-391430F96CA2}"/>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0" y="0"/>
            <a:ext cx="5237200" cy="6858000"/>
          </a:xfrm>
          <a:prstGeom prst="rect">
            <a:avLst/>
          </a:prstGeom>
        </p:spPr>
      </p:pic>
    </p:spTree>
    <p:extLst>
      <p:ext uri="{BB962C8B-B14F-4D97-AF65-F5344CB8AC3E}">
        <p14:creationId xmlns:p14="http://schemas.microsoft.com/office/powerpoint/2010/main" val="427064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3">
            <a:extLst>
              <a:ext uri="{FF2B5EF4-FFF2-40B4-BE49-F238E27FC236}">
                <a16:creationId xmlns:a16="http://schemas.microsoft.com/office/drawing/2014/main" id="{CDE96708-9585-B749-8529-C49291D3B33A}"/>
              </a:ext>
            </a:extLst>
          </p:cNvPr>
          <p:cNvSpPr txBox="1">
            <a:spLocks/>
          </p:cNvSpPr>
          <p:nvPr/>
        </p:nvSpPr>
        <p:spPr>
          <a:xfrm>
            <a:off x="8796528" y="6370638"/>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5</a:t>
            </a:fld>
            <a:endParaRPr lang="en-US"/>
          </a:p>
        </p:txBody>
      </p:sp>
      <p:sp>
        <p:nvSpPr>
          <p:cNvPr id="10" name="Rectangle 9">
            <a:extLst>
              <a:ext uri="{FF2B5EF4-FFF2-40B4-BE49-F238E27FC236}">
                <a16:creationId xmlns:a16="http://schemas.microsoft.com/office/drawing/2014/main" id="{0D4EE89B-F66F-EBDD-50D2-5BD046747D71}"/>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1" name="Picture 10" descr="Text  Description automatically generated">
            <a:extLst>
              <a:ext uri="{FF2B5EF4-FFF2-40B4-BE49-F238E27FC236}">
                <a16:creationId xmlns:a16="http://schemas.microsoft.com/office/drawing/2014/main" id="{1F1FB6F8-2804-0CF9-F8A4-52BE128B71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15" name="Text Placeholder 1">
            <a:extLst>
              <a:ext uri="{FF2B5EF4-FFF2-40B4-BE49-F238E27FC236}">
                <a16:creationId xmlns:a16="http://schemas.microsoft.com/office/drawing/2014/main" id="{2180867A-7A2D-8F56-6F3F-4282B2D6FEA7}"/>
              </a:ext>
            </a:extLst>
          </p:cNvPr>
          <p:cNvSpPr txBox="1">
            <a:spLocks/>
          </p:cNvSpPr>
          <p:nvPr/>
        </p:nvSpPr>
        <p:spPr>
          <a:xfrm>
            <a:off x="847660" y="779656"/>
            <a:ext cx="5390931" cy="616404"/>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4400">
                <a:latin typeface="+mj-lt"/>
              </a:defRPr>
            </a:pPr>
            <a:r>
              <a:rPr err="1"/>
              <a:t>Construire</a:t>
            </a:r>
            <a:r>
              <a:t> un </a:t>
            </a:r>
            <a:r>
              <a:rPr err="1"/>
              <a:t>diplôme</a:t>
            </a:r>
            <a:r>
              <a:rPr lang="en-US"/>
              <a:t> </a:t>
            </a:r>
            <a:endParaRPr/>
          </a:p>
          <a:p>
            <a:pPr marL="0" indent="0">
              <a:buNone/>
              <a:defRPr sz="4400">
                <a:latin typeface="+mj-lt"/>
              </a:defRPr>
            </a:pPr>
            <a:r>
              <a:t>avec </a:t>
            </a:r>
            <a:r>
              <a:rPr lang="en-US"/>
              <a:t>des </a:t>
            </a:r>
            <a:r>
              <a:rPr lang="en-US" err="1"/>
              <a:t>certificats</a:t>
            </a:r>
            <a:r>
              <a:rPr lang="en-US"/>
              <a:t> </a:t>
            </a:r>
            <a:endParaRPr>
              <a:cs typeface="Calibri Light"/>
            </a:endParaRPr>
          </a:p>
        </p:txBody>
      </p:sp>
      <p:sp>
        <p:nvSpPr>
          <p:cNvPr id="16" name="Rectangle 15">
            <a:extLst>
              <a:ext uri="{FF2B5EF4-FFF2-40B4-BE49-F238E27FC236}">
                <a16:creationId xmlns:a16="http://schemas.microsoft.com/office/drawing/2014/main" id="{A4C92C61-E294-ECD3-90F3-9A44ECE5A61A}"/>
              </a:ext>
            </a:extLst>
          </p:cNvPr>
          <p:cNvSpPr/>
          <p:nvPr/>
        </p:nvSpPr>
        <p:spPr>
          <a:xfrm>
            <a:off x="873788" y="2212885"/>
            <a:ext cx="4624804" cy="1563377"/>
          </a:xfrm>
          <a:prstGeom prst="rect">
            <a:avLst/>
          </a:prstGeom>
        </p:spPr>
        <p:txBody>
          <a:bodyPr wrap="square" lIns="91440" tIns="45720" rIns="91440" bIns="45720" anchor="t">
            <a:spAutoFit/>
          </a:bodyPr>
          <a:lstStyle/>
          <a:p>
            <a:pPr>
              <a:lnSpc>
                <a:spcPct val="110000"/>
              </a:lnSpc>
              <a:defRPr sz="2200"/>
            </a:pPr>
            <a:r>
              <a:t>Pour </a:t>
            </a:r>
            <a:r>
              <a:rPr lang="en-US" err="1"/>
              <a:t>construire</a:t>
            </a:r>
            <a:r>
              <a:rPr lang="en-US"/>
              <a:t> </a:t>
            </a:r>
            <a:r>
              <a:t>un </a:t>
            </a:r>
            <a:r>
              <a:rPr err="1"/>
              <a:t>diplôme</a:t>
            </a:r>
            <a:r>
              <a:t>, </a:t>
            </a:r>
            <a:r>
              <a:rPr err="1"/>
              <a:t>vous</a:t>
            </a:r>
            <a:r>
              <a:t> </a:t>
            </a:r>
            <a:r>
              <a:rPr err="1"/>
              <a:t>sélectionnez</a:t>
            </a:r>
            <a:r>
              <a:t> trois </a:t>
            </a:r>
            <a:r>
              <a:rPr err="1"/>
              <a:t>certificats</a:t>
            </a:r>
            <a:r>
              <a:t> qui </a:t>
            </a:r>
            <a:r>
              <a:rPr err="1"/>
              <a:t>s’empilent</a:t>
            </a:r>
            <a:r>
              <a:t> dans un </a:t>
            </a:r>
            <a:r>
              <a:rPr err="1"/>
              <a:t>diplôme</a:t>
            </a:r>
            <a:r>
              <a:t> </a:t>
            </a:r>
            <a:r>
              <a:rPr err="1"/>
              <a:t>d’associé</a:t>
            </a:r>
            <a:r>
              <a:t> </a:t>
            </a:r>
            <a:r>
              <a:rPr i="1" err="1"/>
              <a:t>ainsi</a:t>
            </a:r>
            <a:r>
              <a:rPr i="1"/>
              <a:t> </a:t>
            </a:r>
            <a:r>
              <a:rPr i="1" err="1"/>
              <a:t>qu’un</a:t>
            </a:r>
            <a:r>
              <a:rPr i="1"/>
              <a:t> </a:t>
            </a:r>
            <a:r>
              <a:rPr err="1"/>
              <a:t>baccalauréat</a:t>
            </a:r>
            <a:r>
              <a:t>.</a:t>
            </a:r>
          </a:p>
        </p:txBody>
      </p:sp>
      <p:pic>
        <p:nvPicPr>
          <p:cNvPr id="3" name="Picture 2" descr="A blue and black rectangular sign with white text&#10;&#10;Description automatically generated">
            <a:extLst>
              <a:ext uri="{FF2B5EF4-FFF2-40B4-BE49-F238E27FC236}">
                <a16:creationId xmlns:a16="http://schemas.microsoft.com/office/drawing/2014/main" id="{DD47FAD8-AD10-E57E-FBD1-C7CEB01A552A}"/>
              </a:ext>
            </a:extLst>
          </p:cNvPr>
          <p:cNvPicPr>
            <a:picLocks noChangeAspect="1"/>
          </p:cNvPicPr>
          <p:nvPr/>
        </p:nvPicPr>
        <p:blipFill>
          <a:blip r:embed="rId5"/>
          <a:stretch>
            <a:fillRect/>
          </a:stretch>
        </p:blipFill>
        <p:spPr>
          <a:xfrm>
            <a:off x="3929957" y="2536860"/>
            <a:ext cx="7386809" cy="3535588"/>
          </a:xfrm>
          <a:prstGeom prst="rect">
            <a:avLst/>
          </a:prstGeom>
        </p:spPr>
      </p:pic>
    </p:spTree>
    <p:extLst>
      <p:ext uri="{BB962C8B-B14F-4D97-AF65-F5344CB8AC3E}">
        <p14:creationId xmlns:p14="http://schemas.microsoft.com/office/powerpoint/2010/main" val="150786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AFACB6B-8F7A-9A50-B603-C4DB727958A5}"/>
              </a:ext>
            </a:extLst>
          </p:cNvPr>
          <p:cNvSpPr/>
          <p:nvPr/>
        </p:nvSpPr>
        <p:spPr>
          <a:xfrm>
            <a:off x="347433" y="2993721"/>
            <a:ext cx="9796311" cy="3662951"/>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chemeClr val="accent3"/>
              </a:solidFill>
            </a:endParaRPr>
          </a:p>
        </p:txBody>
      </p:sp>
      <p:sp>
        <p:nvSpPr>
          <p:cNvPr id="4" name="TextBox 3">
            <a:extLst>
              <a:ext uri="{FF2B5EF4-FFF2-40B4-BE49-F238E27FC236}">
                <a16:creationId xmlns:a16="http://schemas.microsoft.com/office/drawing/2014/main" id="{0C2CC212-77F9-9146-BFC8-8B9AE9AAB8A6}"/>
              </a:ext>
            </a:extLst>
          </p:cNvPr>
          <p:cNvSpPr txBox="1"/>
          <p:nvPr/>
        </p:nvSpPr>
        <p:spPr>
          <a:xfrm>
            <a:off x="8964930" y="739751"/>
            <a:ext cx="184731" cy="369332"/>
          </a:xfrm>
          <a:prstGeom prst="rect">
            <a:avLst/>
          </a:prstGeom>
          <a:noFill/>
        </p:spPr>
        <p:txBody>
          <a:bodyPr wrap="none">
            <a:spAutoFit/>
          </a:bodyPr>
          <a:lstStyle/>
          <a:p>
            <a:endParaRPr lang="en-US"/>
          </a:p>
        </p:txBody>
      </p:sp>
      <p:sp>
        <p:nvSpPr>
          <p:cNvPr id="25" name="Text Placeholder 1">
            <a:extLst>
              <a:ext uri="{FF2B5EF4-FFF2-40B4-BE49-F238E27FC236}">
                <a16:creationId xmlns:a16="http://schemas.microsoft.com/office/drawing/2014/main" id="{A07D95AC-7670-0242-AED5-8D9CFC4B487B}"/>
              </a:ext>
            </a:extLst>
          </p:cNvPr>
          <p:cNvSpPr txBox="1">
            <a:spLocks/>
          </p:cNvSpPr>
          <p:nvPr/>
        </p:nvSpPr>
        <p:spPr>
          <a:xfrm>
            <a:off x="347433" y="538417"/>
            <a:ext cx="6955575" cy="61640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4400">
                <a:latin typeface="+mj-lt"/>
              </a:defRPr>
            </a:pPr>
            <a:r>
              <a:t>Offres de programmes</a:t>
            </a:r>
          </a:p>
        </p:txBody>
      </p:sp>
      <p:sp>
        <p:nvSpPr>
          <p:cNvPr id="2" name="Text Placeholder 1">
            <a:extLst>
              <a:ext uri="{FF2B5EF4-FFF2-40B4-BE49-F238E27FC236}">
                <a16:creationId xmlns:a16="http://schemas.microsoft.com/office/drawing/2014/main" id="{6CC1E558-4DAA-386B-1179-C0D0BB178547}"/>
              </a:ext>
            </a:extLst>
          </p:cNvPr>
          <p:cNvSpPr txBox="1">
            <a:spLocks/>
          </p:cNvSpPr>
          <p:nvPr/>
        </p:nvSpPr>
        <p:spPr>
          <a:xfrm>
            <a:off x="345826" y="3065103"/>
            <a:ext cx="3327867" cy="375127"/>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2000" b="1">
                <a:latin typeface="Calibri" panose="020F0502020204030204" pitchFamily="34" charset="0"/>
                <a:cs typeface="Calibri" panose="020F0502020204030204" pitchFamily="34" charset="0"/>
              </a:defRPr>
            </a:pPr>
            <a:r>
              <a:t>CERTIFICATS</a:t>
            </a:r>
          </a:p>
        </p:txBody>
      </p:sp>
      <p:sp>
        <p:nvSpPr>
          <p:cNvPr id="5" name="TextBox 4">
            <a:extLst>
              <a:ext uri="{FF2B5EF4-FFF2-40B4-BE49-F238E27FC236}">
                <a16:creationId xmlns:a16="http://schemas.microsoft.com/office/drawing/2014/main" id="{85A8D91E-9E2B-3E60-BC05-352ECCCECD29}"/>
              </a:ext>
            </a:extLst>
          </p:cNvPr>
          <p:cNvSpPr txBox="1"/>
          <p:nvPr/>
        </p:nvSpPr>
        <p:spPr>
          <a:xfrm>
            <a:off x="345825" y="3440426"/>
            <a:ext cx="10005611" cy="2937921"/>
          </a:xfrm>
          <a:prstGeom prst="rect">
            <a:avLst/>
          </a:prstGeom>
          <a:noFill/>
        </p:spPr>
        <p:txBody>
          <a:bodyPr wrap="square" lIns="91440" tIns="45720" rIns="91440" bIns="45720" numCol="3" anchor="t">
            <a:noAutofit/>
          </a:bodyPr>
          <a:lstStyle/>
          <a:p>
            <a:pPr>
              <a:spcAft>
                <a:spcPts val="600"/>
              </a:spcAft>
              <a:defRPr sz="1400">
                <a:solidFill>
                  <a:srgbClr val="3F3F3F"/>
                </a:solidFill>
                <a:effectLst/>
                <a:latin typeface="Zoram ldsLat"/>
              </a:defRPr>
            </a:pPr>
            <a:r>
              <a:rPr lang="en-US" sz="1350" err="1"/>
              <a:t>Adjointe</a:t>
            </a:r>
            <a:r>
              <a:rPr lang="en-US" sz="1350"/>
              <a:t> administrative</a:t>
            </a:r>
          </a:p>
          <a:p>
            <a:pPr>
              <a:spcAft>
                <a:spcPts val="600"/>
              </a:spcAft>
              <a:defRPr sz="1400">
                <a:solidFill>
                  <a:srgbClr val="3F3F3F"/>
                </a:solidFill>
                <a:effectLst/>
                <a:latin typeface="Zoram ldsLat"/>
              </a:defRPr>
            </a:pPr>
            <a:r>
              <a:rPr lang="en-US" sz="1350" err="1"/>
              <a:t>Comptabilité</a:t>
            </a:r>
            <a:r>
              <a:rPr lang="en-US" sz="1350"/>
              <a:t> de base</a:t>
            </a:r>
          </a:p>
          <a:p>
            <a:pPr>
              <a:spcAft>
                <a:spcPts val="600"/>
              </a:spcAft>
              <a:defRPr sz="1400">
                <a:solidFill>
                  <a:srgbClr val="3F3F3F"/>
                </a:solidFill>
                <a:effectLst/>
                <a:latin typeface="Zoram ldsLat"/>
              </a:defRPr>
            </a:pPr>
            <a:r>
              <a:rPr lang="en-US" sz="1350"/>
              <a:t>Administration des affaires</a:t>
            </a:r>
          </a:p>
          <a:p>
            <a:pPr>
              <a:spcAft>
                <a:spcPts val="600"/>
              </a:spcAft>
              <a:defRPr sz="1400">
                <a:solidFill>
                  <a:srgbClr val="3F3F3F"/>
                </a:solidFill>
                <a:effectLst/>
                <a:latin typeface="Zoram ldsLat"/>
              </a:defRPr>
            </a:pPr>
            <a:r>
              <a:rPr lang="en-US" sz="1350" err="1"/>
              <a:t>Compétences</a:t>
            </a:r>
            <a:r>
              <a:rPr lang="en-US" sz="1350"/>
              <a:t> </a:t>
            </a:r>
            <a:r>
              <a:rPr lang="en-US" sz="1350" err="1"/>
              <a:t>en</a:t>
            </a:r>
            <a:r>
              <a:rPr lang="en-US" sz="1350"/>
              <a:t> affaires et </a:t>
            </a:r>
            <a:r>
              <a:rPr lang="en-US" sz="1350" err="1"/>
              <a:t>en</a:t>
            </a:r>
            <a:r>
              <a:rPr lang="en-US" sz="1350"/>
              <a:t> leadership</a:t>
            </a:r>
          </a:p>
          <a:p>
            <a:pPr>
              <a:spcAft>
                <a:spcPts val="600"/>
              </a:spcAft>
              <a:defRPr sz="1400">
                <a:solidFill>
                  <a:srgbClr val="3F3F3F"/>
                </a:solidFill>
                <a:effectLst/>
                <a:latin typeface="Zoram ldsLat"/>
              </a:defRPr>
            </a:pPr>
            <a:r>
              <a:rPr lang="en-US" sz="1350" err="1"/>
              <a:t>Principes</a:t>
            </a:r>
            <a:r>
              <a:rPr lang="en-US" sz="1350"/>
              <a:t> de base </a:t>
            </a:r>
            <a:r>
              <a:rPr lang="en-US" sz="1350" err="1"/>
              <a:t>commerciaux</a:t>
            </a:r>
            <a:endParaRPr lang="en-US" sz="1350"/>
          </a:p>
          <a:p>
            <a:pPr>
              <a:spcAft>
                <a:spcPts val="600"/>
              </a:spcAft>
              <a:defRPr sz="1400">
                <a:solidFill>
                  <a:srgbClr val="3F3F3F"/>
                </a:solidFill>
                <a:effectLst/>
                <a:latin typeface="Zoram ldsLat"/>
              </a:defRPr>
            </a:pPr>
            <a:r>
              <a:rPr lang="en-US" sz="1350" err="1"/>
              <a:t>Cœur</a:t>
            </a:r>
            <a:r>
              <a:rPr lang="en-US" sz="1350"/>
              <a:t> de communication</a:t>
            </a:r>
          </a:p>
          <a:p>
            <a:pPr>
              <a:spcAft>
                <a:spcPts val="600"/>
              </a:spcAft>
              <a:defRPr sz="1400">
                <a:solidFill>
                  <a:srgbClr val="3F3F3F"/>
                </a:solidFill>
                <a:effectLst/>
                <a:latin typeface="Zoram ldsLat"/>
              </a:defRPr>
            </a:pPr>
            <a:r>
              <a:rPr lang="en-US" sz="1350" err="1"/>
              <a:t>Principes</a:t>
            </a:r>
            <a:r>
              <a:rPr lang="en-US" sz="1350"/>
              <a:t> </a:t>
            </a:r>
            <a:r>
              <a:rPr lang="en-US" sz="1350" err="1"/>
              <a:t>fondamentaux</a:t>
            </a:r>
            <a:r>
              <a:rPr lang="en-US" sz="1350"/>
              <a:t> de la communication</a:t>
            </a:r>
          </a:p>
          <a:p>
            <a:pPr>
              <a:spcAft>
                <a:spcPts val="600"/>
              </a:spcAft>
              <a:defRPr sz="1400">
                <a:solidFill>
                  <a:srgbClr val="3F3F3F"/>
                </a:solidFill>
                <a:effectLst/>
                <a:latin typeface="Zoram ldsLat"/>
              </a:defRPr>
            </a:pPr>
            <a:r>
              <a:rPr lang="en-US" sz="1350" err="1"/>
              <a:t>Santé</a:t>
            </a:r>
            <a:r>
              <a:rPr lang="en-US" sz="1350"/>
              <a:t> </a:t>
            </a:r>
            <a:r>
              <a:rPr lang="en-US" sz="1350" err="1"/>
              <a:t>communautaire</a:t>
            </a:r>
            <a:r>
              <a:rPr lang="en-US" sz="1350"/>
              <a:t> et </a:t>
            </a:r>
            <a:r>
              <a:rPr lang="en-US" sz="1350" err="1"/>
              <a:t>environnementale</a:t>
            </a:r>
            <a:endParaRPr lang="en-US" sz="1350"/>
          </a:p>
          <a:p>
            <a:pPr>
              <a:spcAft>
                <a:spcPts val="600"/>
              </a:spcAft>
              <a:defRPr sz="1400">
                <a:solidFill>
                  <a:srgbClr val="3F3F3F"/>
                </a:solidFill>
                <a:effectLst/>
                <a:latin typeface="Zoram ldsLat"/>
              </a:defRPr>
            </a:pPr>
            <a:r>
              <a:rPr lang="en-US" sz="1350" err="1"/>
              <a:t>Entrepreneuriat</a:t>
            </a:r>
            <a:endParaRPr lang="en-US" sz="1350"/>
          </a:p>
          <a:p>
            <a:pPr>
              <a:spcAft>
                <a:spcPts val="600"/>
              </a:spcAft>
              <a:defRPr sz="1400">
                <a:solidFill>
                  <a:srgbClr val="3F3F3F"/>
                </a:solidFill>
                <a:effectLst/>
                <a:latin typeface="Zoram ldsLat"/>
              </a:defRPr>
            </a:pPr>
            <a:r>
              <a:rPr lang="en-US" sz="1350"/>
              <a:t>Recherche </a:t>
            </a:r>
            <a:r>
              <a:rPr lang="en-US" sz="1350" err="1"/>
              <a:t>généalogique</a:t>
            </a:r>
            <a:endParaRPr lang="en-US" sz="1350"/>
          </a:p>
          <a:p>
            <a:pPr>
              <a:spcAft>
                <a:spcPts val="600"/>
              </a:spcAft>
              <a:defRPr sz="1400">
                <a:solidFill>
                  <a:srgbClr val="3F3F3F"/>
                </a:solidFill>
                <a:effectLst/>
                <a:latin typeface="Zoram ldsLat"/>
              </a:defRPr>
            </a:pPr>
            <a:r>
              <a:rPr lang="en-US" sz="1350"/>
              <a:t>Relations </a:t>
            </a:r>
            <a:r>
              <a:rPr lang="en-US" sz="1350" err="1"/>
              <a:t>familiales</a:t>
            </a:r>
            <a:endParaRPr lang="en-US" sz="1350"/>
          </a:p>
          <a:p>
            <a:pPr>
              <a:spcAft>
                <a:spcPts val="600"/>
              </a:spcAft>
              <a:defRPr sz="1400">
                <a:solidFill>
                  <a:srgbClr val="3F3F3F"/>
                </a:solidFill>
                <a:effectLst/>
                <a:latin typeface="Zoram ldsLat"/>
              </a:defRPr>
            </a:pPr>
            <a:r>
              <a:rPr lang="en-US" sz="1350"/>
              <a:t>Services à la </a:t>
            </a:r>
            <a:r>
              <a:rPr lang="en-US" sz="1350" err="1"/>
              <a:t>famille</a:t>
            </a:r>
            <a:endParaRPr lang="en-US" sz="1350"/>
          </a:p>
          <a:p>
            <a:pPr>
              <a:spcAft>
                <a:spcPts val="600"/>
              </a:spcAft>
              <a:defRPr sz="1400">
                <a:solidFill>
                  <a:srgbClr val="3F3F3F"/>
                </a:solidFill>
                <a:effectLst/>
                <a:latin typeface="Zoram ldsLat"/>
              </a:defRPr>
            </a:pPr>
            <a:r>
              <a:rPr lang="en-US" sz="1350" err="1"/>
              <a:t>Théorie</a:t>
            </a:r>
            <a:r>
              <a:rPr lang="en-US" sz="1350"/>
              <a:t> et recherche sur la </a:t>
            </a:r>
            <a:r>
              <a:rPr lang="en-US" sz="1350" err="1"/>
              <a:t>famille</a:t>
            </a:r>
            <a:endParaRPr lang="en-US" sz="1350"/>
          </a:p>
          <a:p>
            <a:pPr>
              <a:spcAft>
                <a:spcPts val="600"/>
              </a:spcAft>
              <a:defRPr sz="1400">
                <a:solidFill>
                  <a:srgbClr val="3F3F3F"/>
                </a:solidFill>
                <a:effectLst/>
                <a:latin typeface="Zoram ldsLat"/>
              </a:defRPr>
            </a:pPr>
            <a:r>
              <a:rPr lang="en-US" sz="1350" err="1"/>
              <a:t>Principes</a:t>
            </a:r>
            <a:r>
              <a:rPr lang="en-US" sz="1350"/>
              <a:t> </a:t>
            </a:r>
            <a:r>
              <a:rPr lang="en-US" sz="1350" err="1"/>
              <a:t>fondamentaux</a:t>
            </a:r>
            <a:r>
              <a:rPr lang="en-US" sz="1350"/>
              <a:t> de la conception </a:t>
            </a:r>
            <a:r>
              <a:rPr lang="en-US" sz="1350" err="1"/>
              <a:t>graphique</a:t>
            </a:r>
            <a:endParaRPr lang="en-US" sz="1350"/>
          </a:p>
          <a:p>
            <a:pPr>
              <a:spcAft>
                <a:spcPts val="600"/>
              </a:spcAft>
              <a:defRPr sz="1400">
                <a:solidFill>
                  <a:srgbClr val="3F3F3F"/>
                </a:solidFill>
                <a:effectLst/>
                <a:latin typeface="Zoram ldsLat"/>
              </a:defRPr>
            </a:pPr>
            <a:r>
              <a:rPr lang="en-US" sz="1350" err="1"/>
              <a:t>Évaluation</a:t>
            </a:r>
            <a:r>
              <a:rPr lang="en-US" sz="1350"/>
              <a:t> des </a:t>
            </a:r>
            <a:r>
              <a:rPr lang="en-US" sz="1350" err="1"/>
              <a:t>programmes</a:t>
            </a:r>
            <a:r>
              <a:rPr lang="en-US" sz="1350"/>
              <a:t> de </a:t>
            </a:r>
            <a:r>
              <a:rPr lang="en-US" sz="1350" err="1"/>
              <a:t>santé</a:t>
            </a:r>
            <a:endParaRPr lang="en-US" sz="1350"/>
          </a:p>
          <a:p>
            <a:pPr>
              <a:spcAft>
                <a:spcPts val="600"/>
              </a:spcAft>
              <a:defRPr sz="1400">
                <a:solidFill>
                  <a:srgbClr val="3F3F3F"/>
                </a:solidFill>
                <a:effectLst/>
                <a:latin typeface="Zoram ldsLat"/>
              </a:defRPr>
            </a:pPr>
            <a:r>
              <a:rPr lang="en-US" sz="1350" err="1"/>
              <a:t>Stratégies</a:t>
            </a:r>
            <a:r>
              <a:rPr lang="en-US" sz="1350"/>
              <a:t> des </a:t>
            </a:r>
            <a:r>
              <a:rPr lang="en-US" sz="1350" err="1"/>
              <a:t>programmes</a:t>
            </a:r>
            <a:r>
              <a:rPr lang="en-US" sz="1350"/>
              <a:t> de </a:t>
            </a:r>
            <a:r>
              <a:rPr lang="en-US" sz="1350" err="1"/>
              <a:t>santé</a:t>
            </a:r>
            <a:endParaRPr lang="en-US" sz="1350"/>
          </a:p>
          <a:p>
            <a:pPr>
              <a:spcAft>
                <a:spcPts val="600"/>
              </a:spcAft>
              <a:defRPr sz="1400">
                <a:solidFill>
                  <a:srgbClr val="3F3F3F"/>
                </a:solidFill>
                <a:latin typeface="Zoram ldsLat"/>
              </a:defRPr>
            </a:pPr>
            <a:r>
              <a:rPr lang="en-US" sz="1350"/>
              <a:t>Gestion de </a:t>
            </a:r>
            <a:r>
              <a:rPr lang="en-US" sz="1350" err="1"/>
              <a:t>l'hôtellerie</a:t>
            </a:r>
            <a:r>
              <a:rPr lang="en-US" sz="1350"/>
              <a:t> et du </a:t>
            </a:r>
            <a:r>
              <a:rPr lang="en-US" sz="1350" err="1"/>
              <a:t>tourisme</a:t>
            </a:r>
            <a:endParaRPr lang="en-US" sz="1350">
              <a:solidFill>
                <a:srgbClr val="3F3F3F"/>
              </a:solidFill>
              <a:effectLst/>
              <a:latin typeface="Zoram ldsLat" panose="020B0603030504020204" pitchFamily="34" charset="0"/>
            </a:endParaRPr>
          </a:p>
          <a:p>
            <a:pPr>
              <a:spcAft>
                <a:spcPts val="600"/>
              </a:spcAft>
              <a:defRPr sz="1400">
                <a:solidFill>
                  <a:srgbClr val="3F3F3F"/>
                </a:solidFill>
                <a:effectLst/>
                <a:latin typeface="Zoram ldsLat"/>
              </a:defRPr>
            </a:pPr>
            <a:r>
              <a:rPr lang="en-US" sz="1350" err="1"/>
              <a:t>Principes</a:t>
            </a:r>
            <a:r>
              <a:rPr lang="en-US" sz="1350"/>
              <a:t> </a:t>
            </a:r>
            <a:r>
              <a:rPr lang="en-US" sz="1350" err="1"/>
              <a:t>fondamentaux</a:t>
            </a:r>
            <a:r>
              <a:rPr lang="en-US" sz="1350"/>
              <a:t> de </a:t>
            </a:r>
            <a:r>
              <a:rPr lang="en-US" sz="1350" err="1"/>
              <a:t>l’informatique</a:t>
            </a:r>
            <a:endParaRPr lang="en-US" sz="1350"/>
          </a:p>
          <a:p>
            <a:pPr>
              <a:spcAft>
                <a:spcPts val="600"/>
              </a:spcAft>
              <a:defRPr sz="1400">
                <a:solidFill>
                  <a:srgbClr val="3F3F3F"/>
                </a:solidFill>
                <a:latin typeface="Zoram ldsLat"/>
              </a:defRPr>
            </a:pPr>
            <a:r>
              <a:rPr lang="en-US" sz="1350" err="1">
                <a:effectLst/>
              </a:rPr>
              <a:t>Facturation</a:t>
            </a:r>
            <a:r>
              <a:rPr lang="en-US" sz="1350">
                <a:effectLst/>
              </a:rPr>
              <a:t> </a:t>
            </a:r>
            <a:r>
              <a:rPr lang="en-US" sz="1350" err="1">
                <a:effectLst/>
              </a:rPr>
              <a:t>médicale</a:t>
            </a:r>
            <a:r>
              <a:rPr lang="en-US" sz="1350">
                <a:effectLst/>
              </a:rPr>
              <a:t> et </a:t>
            </a:r>
            <a:r>
              <a:rPr lang="en-US" sz="1350" err="1">
                <a:effectLst/>
              </a:rPr>
              <a:t>codage</a:t>
            </a:r>
            <a:r>
              <a:rPr lang="en-US" sz="1350"/>
              <a:t> </a:t>
            </a:r>
            <a:r>
              <a:rPr lang="en-US" sz="1350" err="1"/>
              <a:t>Abc</a:t>
            </a:r>
            <a:endParaRPr lang="en-US" sz="1350">
              <a:solidFill>
                <a:srgbClr val="3F3F3F"/>
              </a:solidFill>
              <a:effectLst/>
              <a:latin typeface="Zoram ldsLat" panose="020B0603030504020204" pitchFamily="34" charset="0"/>
            </a:endParaRPr>
          </a:p>
          <a:p>
            <a:pPr>
              <a:spcAft>
                <a:spcPts val="600"/>
              </a:spcAft>
              <a:defRPr sz="1400">
                <a:solidFill>
                  <a:srgbClr val="3F3F3F"/>
                </a:solidFill>
                <a:effectLst/>
                <a:latin typeface="Zoram ldsLat"/>
              </a:defRPr>
            </a:pPr>
            <a:r>
              <a:rPr lang="en-US" sz="1350"/>
              <a:t>Gestion de </a:t>
            </a:r>
            <a:r>
              <a:rPr lang="en-US" sz="1350" err="1"/>
              <a:t>projet</a:t>
            </a:r>
            <a:endParaRPr lang="en-US" sz="1350"/>
          </a:p>
          <a:p>
            <a:pPr>
              <a:spcAft>
                <a:spcPts val="600"/>
              </a:spcAft>
              <a:defRPr sz="1400">
                <a:solidFill>
                  <a:srgbClr val="3F3F3F"/>
                </a:solidFill>
                <a:effectLst/>
                <a:latin typeface="Zoram ldsLat"/>
              </a:defRPr>
            </a:pPr>
            <a:r>
              <a:rPr lang="en-US" sz="1350"/>
              <a:t>Marketing des </a:t>
            </a:r>
            <a:r>
              <a:rPr lang="en-US" sz="1350" err="1"/>
              <a:t>résaux</a:t>
            </a:r>
            <a:r>
              <a:rPr lang="en-US" sz="1350"/>
              <a:t> </a:t>
            </a:r>
            <a:r>
              <a:rPr lang="en-US" sz="1350" err="1"/>
              <a:t>sociaux</a:t>
            </a:r>
            <a:endParaRPr lang="en-US" sz="1350"/>
          </a:p>
          <a:p>
            <a:pPr>
              <a:spcAft>
                <a:spcPts val="600"/>
              </a:spcAft>
              <a:defRPr sz="1400">
                <a:solidFill>
                  <a:srgbClr val="3F3F3F"/>
                </a:solidFill>
                <a:effectLst/>
                <a:latin typeface="Zoram ldsLat"/>
              </a:defRPr>
            </a:pPr>
            <a:r>
              <a:rPr lang="en-US" sz="1350"/>
              <a:t>Développement de </a:t>
            </a:r>
            <a:r>
              <a:rPr lang="en-US" sz="1350" err="1"/>
              <a:t>logiciels</a:t>
            </a:r>
            <a:endParaRPr lang="en-US" sz="1350"/>
          </a:p>
          <a:p>
            <a:pPr>
              <a:spcAft>
                <a:spcPts val="600"/>
              </a:spcAft>
              <a:defRPr sz="1400">
                <a:solidFill>
                  <a:srgbClr val="3F3F3F"/>
                </a:solidFill>
                <a:effectLst/>
                <a:latin typeface="Zoram ldsLat"/>
              </a:defRPr>
            </a:pPr>
            <a:r>
              <a:rPr lang="en-US" sz="1350"/>
              <a:t>Administration de </a:t>
            </a:r>
            <a:r>
              <a:rPr lang="en-US" sz="1350" err="1"/>
              <a:t>système</a:t>
            </a:r>
            <a:endParaRPr lang="en-US" sz="1350"/>
          </a:p>
          <a:p>
            <a:pPr>
              <a:spcAft>
                <a:spcPts val="600"/>
              </a:spcAft>
              <a:defRPr sz="1400">
                <a:solidFill>
                  <a:srgbClr val="3F3F3F"/>
                </a:solidFill>
                <a:effectLst/>
                <a:latin typeface="Zoram ldsLat"/>
              </a:defRPr>
            </a:pPr>
            <a:r>
              <a:rPr lang="en-US" sz="1350" err="1"/>
              <a:t>Ingénieur</a:t>
            </a:r>
            <a:r>
              <a:rPr lang="en-US" sz="1350"/>
              <a:t> du support technique</a:t>
            </a:r>
          </a:p>
          <a:p>
            <a:pPr>
              <a:spcAft>
                <a:spcPts val="600"/>
              </a:spcAft>
              <a:defRPr sz="1400">
                <a:solidFill>
                  <a:srgbClr val="3F3F3F"/>
                </a:solidFill>
                <a:effectLst/>
                <a:latin typeface="Zoram ldsLat"/>
              </a:defRPr>
            </a:pPr>
            <a:r>
              <a:rPr lang="en-US" sz="1350"/>
              <a:t>TEFL</a:t>
            </a:r>
          </a:p>
          <a:p>
            <a:pPr>
              <a:spcAft>
                <a:spcPts val="600"/>
              </a:spcAft>
              <a:defRPr sz="1400">
                <a:solidFill>
                  <a:srgbClr val="3F3F3F"/>
                </a:solidFill>
                <a:effectLst/>
                <a:latin typeface="Zoram ldsLat"/>
              </a:defRPr>
            </a:pPr>
            <a:r>
              <a:rPr lang="en-US" sz="1350" err="1"/>
              <a:t>Programmation</a:t>
            </a:r>
            <a:r>
              <a:rPr lang="en-US" sz="1350"/>
              <a:t> web et </a:t>
            </a:r>
            <a:r>
              <a:rPr lang="en-US" sz="1350" err="1"/>
              <a:t>informatique</a:t>
            </a:r>
            <a:endParaRPr lang="en-US" sz="1350"/>
          </a:p>
          <a:p>
            <a:pPr>
              <a:spcAft>
                <a:spcPts val="600"/>
              </a:spcAft>
              <a:defRPr sz="1400">
                <a:solidFill>
                  <a:srgbClr val="3F3F3F"/>
                </a:solidFill>
                <a:effectLst/>
                <a:latin typeface="Zoram ldsLat"/>
              </a:defRPr>
            </a:pPr>
            <a:r>
              <a:rPr lang="en-US" sz="1350"/>
              <a:t>Développement web</a:t>
            </a:r>
          </a:p>
        </p:txBody>
      </p:sp>
      <p:sp>
        <p:nvSpPr>
          <p:cNvPr id="11" name="Rectangle 10">
            <a:extLst>
              <a:ext uri="{FF2B5EF4-FFF2-40B4-BE49-F238E27FC236}">
                <a16:creationId xmlns:a16="http://schemas.microsoft.com/office/drawing/2014/main" id="{B8FD1FC5-4BA9-B7E8-0F6C-E6616F7CC091}"/>
              </a:ext>
            </a:extLst>
          </p:cNvPr>
          <p:cNvSpPr/>
          <p:nvPr/>
        </p:nvSpPr>
        <p:spPr>
          <a:xfrm>
            <a:off x="10479505" y="0"/>
            <a:ext cx="1712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2" name="Picture 11" descr="Text  Description automatically generated">
            <a:extLst>
              <a:ext uri="{FF2B5EF4-FFF2-40B4-BE49-F238E27FC236}">
                <a16:creationId xmlns:a16="http://schemas.microsoft.com/office/drawing/2014/main" id="{21CBC0FE-4E8A-A041-05E5-6932EE881F4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pic>
        <p:nvPicPr>
          <p:cNvPr id="14" name="Picture 13" descr="Qr code  Description automatically generated">
            <a:extLst>
              <a:ext uri="{FF2B5EF4-FFF2-40B4-BE49-F238E27FC236}">
                <a16:creationId xmlns:a16="http://schemas.microsoft.com/office/drawing/2014/main" id="{50D12EBC-6B69-6CDD-13CD-B93740B7981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297519" y="4921427"/>
            <a:ext cx="1485543" cy="1485543"/>
          </a:xfrm>
          <a:prstGeom prst="rect">
            <a:avLst/>
          </a:prstGeom>
        </p:spPr>
      </p:pic>
      <p:sp>
        <p:nvSpPr>
          <p:cNvPr id="17" name="Text Placeholder 1">
            <a:extLst>
              <a:ext uri="{FF2B5EF4-FFF2-40B4-BE49-F238E27FC236}">
                <a16:creationId xmlns:a16="http://schemas.microsoft.com/office/drawing/2014/main" id="{5550BE1B-AFCC-B7D5-9AA6-23335220E768}"/>
              </a:ext>
            </a:extLst>
          </p:cNvPr>
          <p:cNvSpPr txBox="1">
            <a:spLocks/>
          </p:cNvSpPr>
          <p:nvPr/>
        </p:nvSpPr>
        <p:spPr>
          <a:xfrm>
            <a:off x="10325635" y="6407641"/>
            <a:ext cx="1428255" cy="249031"/>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sz="1200" b="1">
                <a:latin typeface="+mj-lt"/>
              </a:defRPr>
            </a:pPr>
            <a:r>
              <a:t>Liste des diplômes</a:t>
            </a:r>
          </a:p>
        </p:txBody>
      </p:sp>
      <p:pic>
        <p:nvPicPr>
          <p:cNvPr id="7" name="Graphic 6">
            <a:extLst>
              <a:ext uri="{FF2B5EF4-FFF2-40B4-BE49-F238E27FC236}">
                <a16:creationId xmlns:a16="http://schemas.microsoft.com/office/drawing/2014/main" id="{40D1AAE3-898D-2DC3-95C2-9CB819532B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9189" y="1525456"/>
            <a:ext cx="584192" cy="584192"/>
          </a:xfrm>
          <a:prstGeom prst="rect">
            <a:avLst/>
          </a:prstGeom>
        </p:spPr>
      </p:pic>
      <p:sp>
        <p:nvSpPr>
          <p:cNvPr id="16" name="Content Placeholder 2">
            <a:extLst>
              <a:ext uri="{FF2B5EF4-FFF2-40B4-BE49-F238E27FC236}">
                <a16:creationId xmlns:a16="http://schemas.microsoft.com/office/drawing/2014/main" id="{B17D727E-1028-802B-8045-03F792C5CB36}"/>
              </a:ext>
            </a:extLst>
          </p:cNvPr>
          <p:cNvSpPr txBox="1">
            <a:spLocks/>
          </p:cNvSpPr>
          <p:nvPr/>
        </p:nvSpPr>
        <p:spPr>
          <a:xfrm>
            <a:off x="237233" y="2275768"/>
            <a:ext cx="1279335" cy="270053"/>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Gestion d’entreprise appliquée</a:t>
            </a:r>
          </a:p>
        </p:txBody>
      </p:sp>
      <p:pic>
        <p:nvPicPr>
          <p:cNvPr id="19" name="Graphic 18">
            <a:extLst>
              <a:ext uri="{FF2B5EF4-FFF2-40B4-BE49-F238E27FC236}">
                <a16:creationId xmlns:a16="http://schemas.microsoft.com/office/drawing/2014/main" id="{F3D214B1-0C2F-5127-97FB-39A108EA25B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81331" y="1484930"/>
            <a:ext cx="665244" cy="665244"/>
          </a:xfrm>
          <a:prstGeom prst="rect">
            <a:avLst/>
          </a:prstGeom>
        </p:spPr>
      </p:pic>
      <p:sp>
        <p:nvSpPr>
          <p:cNvPr id="20" name="Content Placeholder 2">
            <a:extLst>
              <a:ext uri="{FF2B5EF4-FFF2-40B4-BE49-F238E27FC236}">
                <a16:creationId xmlns:a16="http://schemas.microsoft.com/office/drawing/2014/main" id="{5A77A19F-CD5E-F7C5-B11F-5ED8EEE3C2D3}"/>
              </a:ext>
            </a:extLst>
          </p:cNvPr>
          <p:cNvSpPr txBox="1">
            <a:spLocks/>
          </p:cNvSpPr>
          <p:nvPr/>
        </p:nvSpPr>
        <p:spPr>
          <a:xfrm>
            <a:off x="3131112" y="2275768"/>
            <a:ext cx="1279336" cy="214205"/>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rPr lang="en-US"/>
              <a:t>Informatique</a:t>
            </a:r>
            <a:endParaRPr lang="en-US">
              <a:cs typeface="Calibri"/>
            </a:endParaRPr>
          </a:p>
        </p:txBody>
      </p:sp>
      <p:pic>
        <p:nvPicPr>
          <p:cNvPr id="21" name="Graphic 20">
            <a:extLst>
              <a:ext uri="{FF2B5EF4-FFF2-40B4-BE49-F238E27FC236}">
                <a16:creationId xmlns:a16="http://schemas.microsoft.com/office/drawing/2014/main" id="{A61257DE-BA9A-D21C-C0DD-05CD2B3EAD6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33683" y="1386714"/>
            <a:ext cx="861676" cy="861677"/>
          </a:xfrm>
          <a:prstGeom prst="rect">
            <a:avLst/>
          </a:prstGeom>
        </p:spPr>
      </p:pic>
      <p:sp>
        <p:nvSpPr>
          <p:cNvPr id="22" name="Content Placeholder 2">
            <a:extLst>
              <a:ext uri="{FF2B5EF4-FFF2-40B4-BE49-F238E27FC236}">
                <a16:creationId xmlns:a16="http://schemas.microsoft.com/office/drawing/2014/main" id="{B0BAD8DB-C2EB-1BBC-245C-7102B156F40B}"/>
              </a:ext>
            </a:extLst>
          </p:cNvPr>
          <p:cNvSpPr txBox="1">
            <a:spLocks/>
          </p:cNvSpPr>
          <p:nvPr/>
        </p:nvSpPr>
        <p:spPr>
          <a:xfrm>
            <a:off x="7569649" y="2275769"/>
            <a:ext cx="989742" cy="30216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Études familiales*</a:t>
            </a:r>
          </a:p>
        </p:txBody>
      </p:sp>
      <p:pic>
        <p:nvPicPr>
          <p:cNvPr id="23" name="Graphic 22">
            <a:extLst>
              <a:ext uri="{FF2B5EF4-FFF2-40B4-BE49-F238E27FC236}">
                <a16:creationId xmlns:a16="http://schemas.microsoft.com/office/drawing/2014/main" id="{D907D086-736A-450C-F2A4-FC7DA94B63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49661" y="1487985"/>
            <a:ext cx="659134" cy="659135"/>
          </a:xfrm>
          <a:prstGeom prst="rect">
            <a:avLst/>
          </a:prstGeom>
        </p:spPr>
      </p:pic>
      <p:sp>
        <p:nvSpPr>
          <p:cNvPr id="24" name="Content Placeholder 2">
            <a:extLst>
              <a:ext uri="{FF2B5EF4-FFF2-40B4-BE49-F238E27FC236}">
                <a16:creationId xmlns:a16="http://schemas.microsoft.com/office/drawing/2014/main" id="{BEE7202F-449B-9086-3496-720E953F2781}"/>
              </a:ext>
            </a:extLst>
          </p:cNvPr>
          <p:cNvSpPr txBox="1">
            <a:spLocks/>
          </p:cNvSpPr>
          <p:nvPr/>
        </p:nvSpPr>
        <p:spPr>
          <a:xfrm>
            <a:off x="8813441" y="2275769"/>
            <a:ext cx="1427623" cy="30216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Études professionnelles</a:t>
            </a:r>
          </a:p>
        </p:txBody>
      </p:sp>
      <p:pic>
        <p:nvPicPr>
          <p:cNvPr id="26" name="Graphic 25">
            <a:extLst>
              <a:ext uri="{FF2B5EF4-FFF2-40B4-BE49-F238E27FC236}">
                <a16:creationId xmlns:a16="http://schemas.microsoft.com/office/drawing/2014/main" id="{E0125AB4-B442-B6E2-1EBA-9C3D81E2E5F7}"/>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4812344" y="1526519"/>
            <a:ext cx="582067" cy="582067"/>
          </a:xfrm>
          <a:prstGeom prst="rect">
            <a:avLst/>
          </a:prstGeom>
        </p:spPr>
      </p:pic>
      <p:sp>
        <p:nvSpPr>
          <p:cNvPr id="28" name="Content Placeholder 2">
            <a:extLst>
              <a:ext uri="{FF2B5EF4-FFF2-40B4-BE49-F238E27FC236}">
                <a16:creationId xmlns:a16="http://schemas.microsoft.com/office/drawing/2014/main" id="{62ACE691-91C0-FDA2-05C2-6B489DA36E0B}"/>
              </a:ext>
            </a:extLst>
          </p:cNvPr>
          <p:cNvSpPr txBox="1">
            <a:spLocks/>
          </p:cNvSpPr>
          <p:nvPr/>
        </p:nvSpPr>
        <p:spPr>
          <a:xfrm>
            <a:off x="4614516" y="2275768"/>
            <a:ext cx="952570" cy="249475"/>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Santé appliquée</a:t>
            </a:r>
          </a:p>
        </p:txBody>
      </p:sp>
      <p:pic>
        <p:nvPicPr>
          <p:cNvPr id="29" name="Graphic 28">
            <a:extLst>
              <a:ext uri="{FF2B5EF4-FFF2-40B4-BE49-F238E27FC236}">
                <a16:creationId xmlns:a16="http://schemas.microsoft.com/office/drawing/2014/main" id="{50238DB1-1FA4-DFDF-8190-EA495C01ED5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167648" y="1437322"/>
            <a:ext cx="760459" cy="760459"/>
          </a:xfrm>
          <a:prstGeom prst="rect">
            <a:avLst/>
          </a:prstGeom>
        </p:spPr>
      </p:pic>
      <p:sp>
        <p:nvSpPr>
          <p:cNvPr id="30" name="Content Placeholder 2">
            <a:extLst>
              <a:ext uri="{FF2B5EF4-FFF2-40B4-BE49-F238E27FC236}">
                <a16:creationId xmlns:a16="http://schemas.microsoft.com/office/drawing/2014/main" id="{8AC79D5D-8AB4-1C8B-D4C6-7F14711042AB}"/>
              </a:ext>
            </a:extLst>
          </p:cNvPr>
          <p:cNvSpPr txBox="1">
            <a:spLocks/>
          </p:cNvSpPr>
          <p:nvPr/>
        </p:nvSpPr>
        <p:spPr>
          <a:xfrm>
            <a:off x="5863465" y="2275769"/>
            <a:ext cx="1368826" cy="30216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Communication</a:t>
            </a:r>
          </a:p>
        </p:txBody>
      </p:sp>
      <p:pic>
        <p:nvPicPr>
          <p:cNvPr id="32" name="Graphic 31">
            <a:extLst>
              <a:ext uri="{FF2B5EF4-FFF2-40B4-BE49-F238E27FC236}">
                <a16:creationId xmlns:a16="http://schemas.microsoft.com/office/drawing/2014/main" id="{205B6630-5704-5994-DB97-47B0810C0A17}"/>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745313" y="1264613"/>
            <a:ext cx="1105876" cy="1105876"/>
          </a:xfrm>
          <a:prstGeom prst="rect">
            <a:avLst/>
          </a:prstGeom>
        </p:spPr>
      </p:pic>
      <p:sp>
        <p:nvSpPr>
          <p:cNvPr id="33" name="Content Placeholder 2">
            <a:extLst>
              <a:ext uri="{FF2B5EF4-FFF2-40B4-BE49-F238E27FC236}">
                <a16:creationId xmlns:a16="http://schemas.microsoft.com/office/drawing/2014/main" id="{5A89F0E6-E75F-91DF-0CE7-8B1C9BE587FF}"/>
              </a:ext>
            </a:extLst>
          </p:cNvPr>
          <p:cNvSpPr txBox="1">
            <a:spLocks/>
          </p:cNvSpPr>
          <p:nvPr/>
        </p:nvSpPr>
        <p:spPr>
          <a:xfrm>
            <a:off x="1625867" y="2265330"/>
            <a:ext cx="1383718" cy="273964"/>
          </a:xfrm>
          <a:prstGeom prst="rect">
            <a:avLst/>
          </a:prstGeom>
        </p:spPr>
        <p:txBody>
          <a:bodyPr vert="horz" lIns="91440" tIns="45720" rIns="91440" bIns="45720">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defRPr sz="1400" b="1"/>
            </a:pPr>
            <a:r>
              <a:t>Développement de logiciels</a:t>
            </a:r>
          </a:p>
        </p:txBody>
      </p:sp>
      <p:sp>
        <p:nvSpPr>
          <p:cNvPr id="34" name="TextBox 33">
            <a:extLst>
              <a:ext uri="{FF2B5EF4-FFF2-40B4-BE49-F238E27FC236}">
                <a16:creationId xmlns:a16="http://schemas.microsoft.com/office/drawing/2014/main" id="{416DF48E-CA52-29A7-3796-A2B845252115}"/>
              </a:ext>
            </a:extLst>
          </p:cNvPr>
          <p:cNvSpPr txBox="1"/>
          <p:nvPr/>
        </p:nvSpPr>
        <p:spPr>
          <a:xfrm>
            <a:off x="10186416" y="3561300"/>
            <a:ext cx="1871114" cy="938719"/>
          </a:xfrm>
          <a:prstGeom prst="rect">
            <a:avLst/>
          </a:prstGeom>
          <a:noFill/>
        </p:spPr>
        <p:txBody>
          <a:bodyPr wrap="square" lIns="91440" tIns="45720" rIns="91440" bIns="45720" anchor="t">
            <a:spAutoFit/>
          </a:bodyPr>
          <a:lstStyle/>
          <a:p>
            <a:pPr marL="120650" indent="-109220">
              <a:defRPr sz="1400"/>
            </a:pPr>
            <a:r>
              <a:rPr sz="1100"/>
              <a:t>*Les études </a:t>
            </a:r>
            <a:r>
              <a:rPr sz="1100" err="1"/>
              <a:t>familiales</a:t>
            </a:r>
            <a:r>
              <a:rPr sz="1100"/>
              <a:t> </a:t>
            </a:r>
            <a:r>
              <a:rPr sz="1100" err="1"/>
              <a:t>comprennent</a:t>
            </a:r>
            <a:r>
              <a:rPr sz="1100"/>
              <a:t> la recherche sur la </a:t>
            </a:r>
            <a:r>
              <a:rPr sz="1100" err="1"/>
              <a:t>famille</a:t>
            </a:r>
            <a:r>
              <a:rPr sz="1100"/>
              <a:t> et les services </a:t>
            </a:r>
            <a:r>
              <a:rPr sz="1100" err="1"/>
              <a:t>sociaux</a:t>
            </a:r>
            <a:r>
              <a:rPr sz="1100"/>
              <a:t> et la recherche </a:t>
            </a:r>
            <a:r>
              <a:rPr sz="1100" err="1"/>
              <a:t>généalogique</a:t>
            </a:r>
            <a:r>
              <a:rPr sz="1100"/>
              <a:t>.</a:t>
            </a:r>
            <a:endParaRPr lang="en-US" sz="1100"/>
          </a:p>
        </p:txBody>
      </p:sp>
    </p:spTree>
    <p:extLst>
      <p:ext uri="{BB962C8B-B14F-4D97-AF65-F5344CB8AC3E}">
        <p14:creationId xmlns:p14="http://schemas.microsoft.com/office/powerpoint/2010/main" val="3075817669"/>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9D4DC2E-C078-3526-1B31-BEA4E21719D4}"/>
              </a:ext>
            </a:extLst>
          </p:cNvPr>
          <p:cNvSpPr/>
          <p:nvPr/>
        </p:nvSpPr>
        <p:spPr>
          <a:xfrm>
            <a:off x="-48787" y="1816096"/>
            <a:ext cx="12302364" cy="28537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26" name="Slide Number Placeholder 3">
            <a:extLst>
              <a:ext uri="{FF2B5EF4-FFF2-40B4-BE49-F238E27FC236}">
                <a16:creationId xmlns:a16="http://schemas.microsoft.com/office/drawing/2014/main" id="{EA71D5DF-E7DC-3741-8D95-947602EF5B8B}"/>
              </a:ext>
            </a:extLst>
          </p:cNvPr>
          <p:cNvSpPr txBox="1">
            <a:spLocks/>
          </p:cNvSpPr>
          <p:nvPr/>
        </p:nvSpPr>
        <p:spPr>
          <a:xfrm>
            <a:off x="8796528" y="6356350"/>
            <a:ext cx="2743200" cy="365125"/>
          </a:xfrm>
          <a:prstGeom prst="rect">
            <a:avLst/>
          </a:prstGeom>
        </p:spPr>
        <p:txBody>
          <a:bodyPr vert="horz" lIns="91440" tIns="45720" rIns="91440" bIns="4572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93C2FB-EF86-FD49-89EB-659751C15892}" type="slidenum">
              <a:rPr lang="en-US" smtClean="0"/>
              <a:t>7</a:t>
            </a:fld>
            <a:endParaRPr lang="en-US"/>
          </a:p>
        </p:txBody>
      </p:sp>
      <p:sp>
        <p:nvSpPr>
          <p:cNvPr id="20" name="Content Placeholder 2">
            <a:extLst>
              <a:ext uri="{FF2B5EF4-FFF2-40B4-BE49-F238E27FC236}">
                <a16:creationId xmlns:a16="http://schemas.microsoft.com/office/drawing/2014/main" id="{16521770-80B6-B447-80F3-E433B45DFE28}"/>
              </a:ext>
            </a:extLst>
          </p:cNvPr>
          <p:cNvSpPr txBox="1">
            <a:spLocks/>
          </p:cNvSpPr>
          <p:nvPr/>
        </p:nvSpPr>
        <p:spPr>
          <a:xfrm>
            <a:off x="-233088" y="796034"/>
            <a:ext cx="9028113" cy="915488"/>
          </a:xfrm>
          <a:prstGeom prst="rect">
            <a:avLst/>
          </a:prstGeom>
        </p:spPr>
        <p:txBody>
          <a:bodyPr vert="horz" lIns="91440" tIns="45720" rIns="91440" bIns="45720" anchor="t">
            <a:noAutofit/>
          </a:bodyPr>
          <a:lstStyle>
            <a:lvl1pPr marL="228600" indent="-228600" algn="l" defTabSz="914400" rtl="0" eaLnBrk="1" latinLnBrk="0" hangingPunct="1">
              <a:lnSpc>
                <a:spcPct val="90000"/>
              </a:lnSpc>
              <a:spcBef>
                <a:spcPts val="1000"/>
              </a:spcBef>
              <a:buFont typeface="Arial"/>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20000"/>
              </a:lnSpc>
              <a:buNone/>
              <a:defRPr sz="4400">
                <a:latin typeface="Calibri Light"/>
                <a:ea typeface="Calibri Light"/>
                <a:cs typeface="Calibri Light"/>
              </a:defRPr>
            </a:pPr>
            <a:r>
              <a:t>BYU-Pathway aide les étudiants à...</a:t>
            </a:r>
          </a:p>
        </p:txBody>
      </p:sp>
      <p:sp>
        <p:nvSpPr>
          <p:cNvPr id="27" name="TextBox 26">
            <a:extLst>
              <a:ext uri="{FF2B5EF4-FFF2-40B4-BE49-F238E27FC236}">
                <a16:creationId xmlns:a16="http://schemas.microsoft.com/office/drawing/2014/main" id="{061D94E2-836E-EE4F-AC2E-903DE5C55B97}"/>
              </a:ext>
            </a:extLst>
          </p:cNvPr>
          <p:cNvSpPr txBox="1"/>
          <p:nvPr/>
        </p:nvSpPr>
        <p:spPr>
          <a:xfrm>
            <a:off x="9645030" y="5059111"/>
            <a:ext cx="2051182" cy="954107"/>
          </a:xfrm>
          <a:prstGeom prst="rect">
            <a:avLst/>
          </a:prstGeom>
          <a:noFill/>
        </p:spPr>
        <p:txBody>
          <a:bodyPr wrap="square" lIns="91440" tIns="45720" rIns="91440" bIns="45720" anchor="t">
            <a:spAutoFit/>
          </a:bodyPr>
          <a:lstStyle/>
          <a:p>
            <a:pPr>
              <a:defRPr sz="3200" b="1">
                <a:solidFill>
                  <a:schemeClr val="tx1">
                    <a:lumMod val="75000"/>
                    <a:lumOff val="25000"/>
                  </a:schemeClr>
                </a:solidFill>
              </a:defRPr>
            </a:pPr>
            <a:r>
              <a:rPr sz="2800" err="1"/>
              <a:t>Trouver</a:t>
            </a:r>
            <a:r>
              <a:rPr sz="2800"/>
              <a:t> </a:t>
            </a:r>
            <a:r>
              <a:rPr sz="2800" err="1"/>
              <a:t>une</a:t>
            </a:r>
            <a:r>
              <a:rPr sz="2800"/>
              <a:t> </a:t>
            </a:r>
            <a:r>
              <a:rPr sz="2800" err="1"/>
              <a:t>voie</a:t>
            </a:r>
            <a:r>
              <a:rPr sz="2800"/>
              <a:t> à </a:t>
            </a:r>
            <a:r>
              <a:rPr sz="2800" err="1"/>
              <a:t>suivre</a:t>
            </a:r>
            <a:endParaRPr lang="en-US" sz="2800" err="1">
              <a:solidFill>
                <a:schemeClr val="tx1">
                  <a:lumMod val="75000"/>
                  <a:lumOff val="25000"/>
                </a:schemeClr>
              </a:solidFill>
            </a:endParaRPr>
          </a:p>
        </p:txBody>
      </p:sp>
      <p:sp>
        <p:nvSpPr>
          <p:cNvPr id="28" name="TextBox 27">
            <a:extLst>
              <a:ext uri="{FF2B5EF4-FFF2-40B4-BE49-F238E27FC236}">
                <a16:creationId xmlns:a16="http://schemas.microsoft.com/office/drawing/2014/main" id="{2DF252B8-74CF-F44D-9C66-D414C0B370E9}"/>
              </a:ext>
            </a:extLst>
          </p:cNvPr>
          <p:cNvSpPr txBox="1"/>
          <p:nvPr/>
        </p:nvSpPr>
        <p:spPr>
          <a:xfrm>
            <a:off x="4997797" y="5092349"/>
            <a:ext cx="3183484" cy="954107"/>
          </a:xfrm>
          <a:prstGeom prst="rect">
            <a:avLst/>
          </a:prstGeom>
          <a:noFill/>
        </p:spPr>
        <p:txBody>
          <a:bodyPr wrap="square" lIns="91440" tIns="45720" rIns="91440" bIns="45720" anchor="t">
            <a:spAutoFit/>
          </a:bodyPr>
          <a:lstStyle/>
          <a:p>
            <a:pPr>
              <a:defRPr sz="3200" b="1">
                <a:solidFill>
                  <a:schemeClr val="tx1">
                    <a:lumMod val="75000"/>
                    <a:lumOff val="25000"/>
                  </a:schemeClr>
                </a:solidFill>
                <a:ea typeface="+mn-lt"/>
                <a:cs typeface="+mn-lt"/>
              </a:defRPr>
            </a:pPr>
            <a:r>
              <a:rPr lang="en-US" sz="2800" err="1">
                <a:ea typeface="+mn-lt"/>
                <a:cs typeface="+mn-lt"/>
              </a:rPr>
              <a:t>Economisez</a:t>
            </a:r>
            <a:r>
              <a:rPr lang="en-US" sz="2800">
                <a:ea typeface="+mn-lt"/>
                <a:cs typeface="+mn-lt"/>
              </a:rPr>
              <a:t> du temps et de </a:t>
            </a:r>
            <a:r>
              <a:rPr lang="en-US" sz="2800" err="1">
                <a:ea typeface="+mn-lt"/>
                <a:cs typeface="+mn-lt"/>
              </a:rPr>
              <a:t>l'argent</a:t>
            </a:r>
            <a:endParaRPr lang="en-US" err="1"/>
          </a:p>
        </p:txBody>
      </p:sp>
      <p:sp>
        <p:nvSpPr>
          <p:cNvPr id="29" name="TextBox 28">
            <a:extLst>
              <a:ext uri="{FF2B5EF4-FFF2-40B4-BE49-F238E27FC236}">
                <a16:creationId xmlns:a16="http://schemas.microsoft.com/office/drawing/2014/main" id="{CED74288-F993-2A4C-A717-1C6A7F535098}"/>
              </a:ext>
            </a:extLst>
          </p:cNvPr>
          <p:cNvSpPr txBox="1"/>
          <p:nvPr/>
        </p:nvSpPr>
        <p:spPr>
          <a:xfrm>
            <a:off x="1116438" y="5142802"/>
            <a:ext cx="2527559" cy="954107"/>
          </a:xfrm>
          <a:prstGeom prst="rect">
            <a:avLst/>
          </a:prstGeom>
          <a:noFill/>
        </p:spPr>
        <p:txBody>
          <a:bodyPr wrap="square" lIns="91440" tIns="45720" rIns="91440" bIns="45720" anchor="t">
            <a:spAutoFit/>
          </a:bodyPr>
          <a:lstStyle/>
          <a:p>
            <a:pPr>
              <a:defRPr sz="3200" b="1">
                <a:solidFill>
                  <a:schemeClr val="tx1">
                    <a:lumMod val="75000"/>
                    <a:lumOff val="25000"/>
                  </a:schemeClr>
                </a:solidFill>
              </a:defRPr>
            </a:pPr>
            <a:r>
              <a:rPr lang="en-US" sz="2800" err="1"/>
              <a:t>Obtener</a:t>
            </a:r>
            <a:r>
              <a:rPr sz="2800"/>
              <a:t> un </a:t>
            </a:r>
            <a:r>
              <a:rPr sz="2800" err="1"/>
              <a:t>meilleur</a:t>
            </a:r>
            <a:r>
              <a:rPr sz="2800"/>
              <a:t> </a:t>
            </a:r>
            <a:r>
              <a:rPr sz="2800" err="1"/>
              <a:t>emploi</a:t>
            </a:r>
            <a:endParaRPr lang="en-US" sz="2800" err="1">
              <a:solidFill>
                <a:schemeClr val="tx1">
                  <a:lumMod val="75000"/>
                  <a:lumOff val="25000"/>
                </a:schemeClr>
              </a:solidFill>
            </a:endParaRPr>
          </a:p>
        </p:txBody>
      </p:sp>
      <p:pic>
        <p:nvPicPr>
          <p:cNvPr id="11" name="Picture 11" descr="A picture containing commencement, academic costume, graduation, person  Description automatically generated">
            <a:extLst>
              <a:ext uri="{FF2B5EF4-FFF2-40B4-BE49-F238E27FC236}">
                <a16:creationId xmlns:a16="http://schemas.microsoft.com/office/drawing/2014/main" id="{2FCB1BD8-9966-47F6-9934-DC55BBA66BFA}"/>
              </a:ext>
            </a:extLst>
          </p:cNvPr>
          <p:cNvPicPr>
            <a:picLocks noChangeAspect="1"/>
          </p:cNvPicPr>
          <p:nvPr/>
        </p:nvPicPr>
        <p:blipFill rotWithShape="1">
          <a:blip r:embed="rId4"/>
          <a:srcRect t="570" r="6896" b="7294"/>
          <a:stretch/>
        </p:blipFill>
        <p:spPr>
          <a:xfrm>
            <a:off x="8186422" y="1908256"/>
            <a:ext cx="4005062" cy="2664946"/>
          </a:xfrm>
          <a:prstGeom prst="rect">
            <a:avLst/>
          </a:prstGeom>
        </p:spPr>
      </p:pic>
      <p:pic>
        <p:nvPicPr>
          <p:cNvPr id="15" name="Graphic 6">
            <a:extLst>
              <a:ext uri="{FF2B5EF4-FFF2-40B4-BE49-F238E27FC236}">
                <a16:creationId xmlns:a16="http://schemas.microsoft.com/office/drawing/2014/main" id="{4751089D-F608-11C4-D7FE-8747798B754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1942" y="5348978"/>
            <a:ext cx="469774" cy="620780"/>
          </a:xfrm>
          <a:prstGeom prst="rect">
            <a:avLst/>
          </a:prstGeom>
        </p:spPr>
      </p:pic>
      <p:pic>
        <p:nvPicPr>
          <p:cNvPr id="17" name="Graphic 7">
            <a:extLst>
              <a:ext uri="{FF2B5EF4-FFF2-40B4-BE49-F238E27FC236}">
                <a16:creationId xmlns:a16="http://schemas.microsoft.com/office/drawing/2014/main" id="{75FD2F3B-D7F7-621E-F062-E1CBD8B192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1006" y="5262387"/>
            <a:ext cx="634955" cy="616063"/>
          </a:xfrm>
          <a:prstGeom prst="rect">
            <a:avLst/>
          </a:prstGeom>
        </p:spPr>
      </p:pic>
      <p:pic>
        <p:nvPicPr>
          <p:cNvPr id="21" name="Graphic 8">
            <a:extLst>
              <a:ext uri="{FF2B5EF4-FFF2-40B4-BE49-F238E27FC236}">
                <a16:creationId xmlns:a16="http://schemas.microsoft.com/office/drawing/2014/main" id="{35A9E54B-D6E0-9249-69DD-E5E96D4812D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61914" y="5158489"/>
            <a:ext cx="801155" cy="800497"/>
          </a:xfrm>
          <a:prstGeom prst="rect">
            <a:avLst/>
          </a:prstGeom>
        </p:spPr>
      </p:pic>
      <p:sp>
        <p:nvSpPr>
          <p:cNvPr id="30" name="Rectangle 29">
            <a:extLst>
              <a:ext uri="{FF2B5EF4-FFF2-40B4-BE49-F238E27FC236}">
                <a16:creationId xmlns:a16="http://schemas.microsoft.com/office/drawing/2014/main" id="{857C208A-2769-6041-95B8-FD02113F8FA0}"/>
              </a:ext>
            </a:extLst>
          </p:cNvPr>
          <p:cNvSpPr/>
          <p:nvPr/>
        </p:nvSpPr>
        <p:spPr>
          <a:xfrm>
            <a:off x="10479505" y="-39756"/>
            <a:ext cx="1738999" cy="14688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32" name="Picture 31" descr="Text  Description automatically generated">
            <a:extLst>
              <a:ext uri="{FF2B5EF4-FFF2-40B4-BE49-F238E27FC236}">
                <a16:creationId xmlns:a16="http://schemas.microsoft.com/office/drawing/2014/main" id="{8B398843-F35C-BA42-4C0C-C1359B876CA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678849" y="298189"/>
            <a:ext cx="1313807" cy="826106"/>
          </a:xfrm>
          <a:prstGeom prst="rect">
            <a:avLst/>
          </a:prstGeom>
        </p:spPr>
      </p:pic>
      <p:sp>
        <p:nvSpPr>
          <p:cNvPr id="2" name="Rectangle 1">
            <a:extLst>
              <a:ext uri="{FF2B5EF4-FFF2-40B4-BE49-F238E27FC236}">
                <a16:creationId xmlns:a16="http://schemas.microsoft.com/office/drawing/2014/main" id="{4C906694-9DB0-10F7-1EAA-FC9203BA1BDC}"/>
              </a:ext>
            </a:extLst>
          </p:cNvPr>
          <p:cNvSpPr/>
          <p:nvPr/>
        </p:nvSpPr>
        <p:spPr>
          <a:xfrm>
            <a:off x="2004" y="6766034"/>
            <a:ext cx="12209701" cy="122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3" name="Picture 3">
            <a:extLst>
              <a:ext uri="{FF2B5EF4-FFF2-40B4-BE49-F238E27FC236}">
                <a16:creationId xmlns:a16="http://schemas.microsoft.com/office/drawing/2014/main" id="{678DC212-950F-B4B0-8A0D-9FF4BF546D82}"/>
              </a:ext>
            </a:extLst>
          </p:cNvPr>
          <p:cNvPicPr>
            <a:picLocks noChangeAspect="1"/>
          </p:cNvPicPr>
          <p:nvPr/>
        </p:nvPicPr>
        <p:blipFill>
          <a:blip r:embed="rId12"/>
          <a:stretch>
            <a:fillRect/>
          </a:stretch>
        </p:blipFill>
        <p:spPr>
          <a:xfrm>
            <a:off x="-4381" y="1917322"/>
            <a:ext cx="4007688" cy="2659087"/>
          </a:xfrm>
          <a:prstGeom prst="rect">
            <a:avLst/>
          </a:prstGeom>
        </p:spPr>
      </p:pic>
      <p:pic>
        <p:nvPicPr>
          <p:cNvPr id="4" name="Picture 4">
            <a:extLst>
              <a:ext uri="{FF2B5EF4-FFF2-40B4-BE49-F238E27FC236}">
                <a16:creationId xmlns:a16="http://schemas.microsoft.com/office/drawing/2014/main" id="{BB2363BE-6C2F-0EB5-A854-2C0CBEE4D03F}"/>
              </a:ext>
            </a:extLst>
          </p:cNvPr>
          <p:cNvPicPr>
            <a:picLocks noChangeAspect="1"/>
          </p:cNvPicPr>
          <p:nvPr/>
        </p:nvPicPr>
        <p:blipFill rotWithShape="1">
          <a:blip r:embed="rId13"/>
          <a:srcRect t="162" r="-469" b="2496"/>
          <a:stretch/>
        </p:blipFill>
        <p:spPr>
          <a:xfrm>
            <a:off x="4088350" y="1916858"/>
            <a:ext cx="4013692" cy="2653427"/>
          </a:xfrm>
          <a:prstGeom prst="rect">
            <a:avLst/>
          </a:prstGeom>
        </p:spPr>
      </p:pic>
    </p:spTree>
    <p:extLst>
      <p:ext uri="{BB962C8B-B14F-4D97-AF65-F5344CB8AC3E}">
        <p14:creationId xmlns:p14="http://schemas.microsoft.com/office/powerpoint/2010/main" val="356978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87FB22B4-2951-A28D-BB5A-9D0127456D90}"/>
              </a:ext>
            </a:extLst>
          </p:cNvPr>
          <p:cNvPicPr>
            <a:picLocks noChangeAspect="1"/>
          </p:cNvPicPr>
          <p:nvPr/>
        </p:nvPicPr>
        <p:blipFill rotWithShape="1">
          <a:blip r:embed="rId3"/>
          <a:srcRect t="4728" b="20221"/>
          <a:stretch/>
        </p:blipFill>
        <p:spPr>
          <a:xfrm>
            <a:off x="-25826" y="-28039"/>
            <a:ext cx="12252320" cy="6118262"/>
          </a:xfrm>
          <a:prstGeom prst="rect">
            <a:avLst/>
          </a:prstGeom>
        </p:spPr>
      </p:pic>
      <p:sp>
        <p:nvSpPr>
          <p:cNvPr id="18" name="Rectangle 17">
            <a:extLst>
              <a:ext uri="{FF2B5EF4-FFF2-40B4-BE49-F238E27FC236}">
                <a16:creationId xmlns:a16="http://schemas.microsoft.com/office/drawing/2014/main" id="{FA3A9F34-98D4-9547-B942-3279C8707609}"/>
              </a:ext>
            </a:extLst>
          </p:cNvPr>
          <p:cNvSpPr/>
          <p:nvPr/>
        </p:nvSpPr>
        <p:spPr>
          <a:xfrm>
            <a:off x="-20625" y="5821246"/>
            <a:ext cx="12252723" cy="1035572"/>
          </a:xfrm>
          <a:prstGeom prst="rect">
            <a:avLst/>
          </a:prstGeom>
          <a:solidFill>
            <a:srgbClr val="4545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6" name="Text Placeholder 2">
            <a:extLst>
              <a:ext uri="{FF2B5EF4-FFF2-40B4-BE49-F238E27FC236}">
                <a16:creationId xmlns:a16="http://schemas.microsoft.com/office/drawing/2014/main" id="{03DB7BEA-64A9-8BC2-B0AF-DFD61C001233}"/>
              </a:ext>
            </a:extLst>
          </p:cNvPr>
          <p:cNvSpPr txBox="1">
            <a:spLocks/>
          </p:cNvSpPr>
          <p:nvPr/>
        </p:nvSpPr>
        <p:spPr>
          <a:xfrm>
            <a:off x="1461163" y="6011876"/>
            <a:ext cx="9844087" cy="91117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Open Sans" pitchFamily="2" charset="0"/>
                <a:cs typeface="Open Sans"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Open Sans" pitchFamily="2" charset="0"/>
                <a:cs typeface="Open Sans"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Open Sans" pitchFamily="2" charset="0"/>
                <a:cs typeface="Open Sans"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Open Sans" pitchFamily="2" charset="0"/>
                <a:cs typeface="Open Sans"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Open Sans" pitchFamily="2" charset="0"/>
                <a:cs typeface="Open Sans"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defRPr sz="4800">
                <a:solidFill>
                  <a:schemeClr val="bg1"/>
                </a:solidFill>
                <a:latin typeface="Roboto Slab Light"/>
                <a:ea typeface="Roboto Slab Light"/>
                <a:cs typeface="Open Sans"/>
              </a:defRPr>
            </a:pPr>
            <a:r>
              <a:rPr lang="en-US" sz="4600" err="1"/>
              <a:t>Obtener</a:t>
            </a:r>
            <a:r>
              <a:rPr sz="4600"/>
              <a:t> un </a:t>
            </a:r>
            <a:r>
              <a:rPr sz="4600" err="1"/>
              <a:t>meilleur</a:t>
            </a:r>
            <a:r>
              <a:rPr sz="4600"/>
              <a:t> </a:t>
            </a:r>
            <a:r>
              <a:rPr sz="4600" err="1"/>
              <a:t>emploi</a:t>
            </a:r>
            <a:endParaRPr lang="en-US" sz="4600" err="1">
              <a:solidFill>
                <a:schemeClr val="bg1"/>
              </a:solidFill>
              <a:latin typeface="Roboto Slab Light"/>
            </a:endParaRPr>
          </a:p>
        </p:txBody>
      </p:sp>
      <p:sp>
        <p:nvSpPr>
          <p:cNvPr id="3" name="Rectangle 2">
            <a:extLst>
              <a:ext uri="{FF2B5EF4-FFF2-40B4-BE49-F238E27FC236}">
                <a16:creationId xmlns:a16="http://schemas.microsoft.com/office/drawing/2014/main" id="{81653977-D96C-313F-7524-62BCEB14BF90}"/>
              </a:ext>
            </a:extLst>
          </p:cNvPr>
          <p:cNvSpPr/>
          <p:nvPr/>
        </p:nvSpPr>
        <p:spPr>
          <a:xfrm>
            <a:off x="488731" y="5292278"/>
            <a:ext cx="1598495" cy="1422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4" name="Graphic 4">
            <a:extLst>
              <a:ext uri="{FF2B5EF4-FFF2-40B4-BE49-F238E27FC236}">
                <a16:creationId xmlns:a16="http://schemas.microsoft.com/office/drawing/2014/main" id="{8415BE5B-6B1E-8B91-BD83-964AF63C9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4089" y="5542961"/>
            <a:ext cx="923144" cy="923144"/>
          </a:xfrm>
          <a:prstGeom prst="rect">
            <a:avLst/>
          </a:prstGeom>
        </p:spPr>
      </p:pic>
    </p:spTree>
    <p:extLst>
      <p:ext uri="{BB962C8B-B14F-4D97-AF65-F5344CB8AC3E}">
        <p14:creationId xmlns:p14="http://schemas.microsoft.com/office/powerpoint/2010/main" val="369920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athway 1">
      <a:dk1>
        <a:srgbClr val="313031"/>
      </a:dk1>
      <a:lt1>
        <a:srgbClr val="FFFFFF"/>
      </a:lt1>
      <a:dk2>
        <a:srgbClr val="313031"/>
      </a:dk2>
      <a:lt2>
        <a:srgbClr val="FFFFFF"/>
      </a:lt2>
      <a:accent1>
        <a:srgbClr val="FFC328"/>
      </a:accent1>
      <a:accent2>
        <a:srgbClr val="CB4927"/>
      </a:accent2>
      <a:accent3>
        <a:srgbClr val="065577"/>
      </a:accent3>
      <a:accent4>
        <a:srgbClr val="6DAAB6"/>
      </a:accent4>
      <a:accent5>
        <a:srgbClr val="BABF3C"/>
      </a:accent5>
      <a:accent6>
        <a:srgbClr val="313031"/>
      </a:accent6>
      <a:hlink>
        <a:srgbClr val="E1A740"/>
      </a:hlink>
      <a:folHlink>
        <a:srgbClr val="BD523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Pathway 2020_1">
      <a:dk1>
        <a:srgbClr val="58595B"/>
      </a:dk1>
      <a:lt1>
        <a:srgbClr val="FFFFFF"/>
      </a:lt1>
      <a:dk2>
        <a:srgbClr val="58595B"/>
      </a:dk2>
      <a:lt2>
        <a:srgbClr val="E7E6E6"/>
      </a:lt2>
      <a:accent1>
        <a:srgbClr val="FFC328"/>
      </a:accent1>
      <a:accent2>
        <a:srgbClr val="3A929D"/>
      </a:accent2>
      <a:accent3>
        <a:srgbClr val="CB4927"/>
      </a:accent3>
      <a:accent4>
        <a:srgbClr val="A2C23C"/>
      </a:accent4>
      <a:accent5>
        <a:srgbClr val="065577"/>
      </a:accent5>
      <a:accent6>
        <a:srgbClr val="000000"/>
      </a:accent6>
      <a:hlink>
        <a:srgbClr val="FFC328"/>
      </a:hlink>
      <a:folHlink>
        <a:srgbClr val="FFC328"/>
      </a:folHlink>
    </a:clrScheme>
    <a:fontScheme name="Roboto">
      <a:majorFont>
        <a:latin typeface="Roboto Slab Thin"/>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0ae4b11-f6d3-4c60-bcd1-5d021da4370d">
      <UserInfo>
        <DisplayName>Westin Cordier</DisplayName>
        <AccountId>40</AccountId>
        <AccountType/>
      </UserInfo>
      <UserInfo>
        <DisplayName>Juston Cheney</DisplayName>
        <AccountId>11</AccountId>
        <AccountType/>
      </UserInfo>
      <UserInfo>
        <DisplayName>Brian T. Fogelberg</DisplayName>
        <AccountId>17</AccountId>
        <AccountType/>
      </UserInfo>
      <UserInfo>
        <DisplayName>John Wilson</DisplayName>
        <AccountId>35</AccountId>
        <AccountType/>
      </UserInfo>
      <UserInfo>
        <DisplayName>Kamile Walker</DisplayName>
        <AccountId>1533</AccountId>
        <AccountType/>
      </UserInfo>
    </SharedWithUsers>
    <TaxKeywordTaxHTField xmlns="10ae4b11-f6d3-4c60-bcd1-5d021da4370d">
      <Terms xmlns="http://schemas.microsoft.com/office/infopath/2007/PartnerControls"/>
    </TaxKeywordTaxHTField>
    <Thumbnail xmlns="99b7238d-aad9-4b76-aaaa-43d703024f67">
      <Url xsi:nil="true"/>
      <Description xsi:nil="true"/>
    </Thumbnail>
    <Picture xmlns="99b7238d-aad9-4b76-aaaa-43d703024f67">
      <Url xsi:nil="true"/>
      <Description xsi:nil="true"/>
    </Picture>
    <Caption xmlns="99b7238d-aad9-4b76-aaaa-43d703024f67" xsi:nil="true"/>
    <lcf76f155ced4ddcb4097134ff3c332f xmlns="99b7238d-aad9-4b76-aaaa-43d703024f67">
      <Terms xmlns="http://schemas.microsoft.com/office/infopath/2007/PartnerControls"/>
    </lcf76f155ced4ddcb4097134ff3c332f>
    <CanvaTemplates xmlns="99b7238d-aad9-4b76-aaaa-43d703024f67">
      <Url xsi:nil="true"/>
      <Description xsi:nil="true"/>
    </CanvaTemplates>
    <TaxCatchAll xmlns="86a4b93c-d1cc-4bd3-af56-561b2e2f2c4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15FD9DCFAAD0A439D68C893F04135D8" ma:contentTypeVersion="27" ma:contentTypeDescription="Create a new document." ma:contentTypeScope="" ma:versionID="43d6193b1f2685c77b446bf1e7cd5107">
  <xsd:schema xmlns:xsd="http://www.w3.org/2001/XMLSchema" xmlns:xs="http://www.w3.org/2001/XMLSchema" xmlns:p="http://schemas.microsoft.com/office/2006/metadata/properties" xmlns:ns2="99b7238d-aad9-4b76-aaaa-43d703024f67" xmlns:ns3="10ae4b11-f6d3-4c60-bcd1-5d021da4370d" xmlns:ns4="86a4b93c-d1cc-4bd3-af56-561b2e2f2c4a" targetNamespace="http://schemas.microsoft.com/office/2006/metadata/properties" ma:root="true" ma:fieldsID="bd20faf6af6434aab7d4e6711f32be18" ns2:_="" ns3:_="" ns4:_="">
    <xsd:import namespace="99b7238d-aad9-4b76-aaaa-43d703024f67"/>
    <xsd:import namespace="10ae4b11-f6d3-4c60-bcd1-5d021da4370d"/>
    <xsd:import namespace="86a4b93c-d1cc-4bd3-af56-561b2e2f2c4a"/>
    <xsd:element name="properties">
      <xsd:complexType>
        <xsd:sequence>
          <xsd:element name="documentManagement">
            <xsd:complexType>
              <xsd:all>
                <xsd:element ref="ns2:Thumbnail" minOccurs="0"/>
                <xsd:element ref="ns2:Picture" minOccurs="0"/>
                <xsd:element ref="ns2:Caption"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element ref="ns3:TaxKeywordTaxHTField" minOccurs="0"/>
                <xsd:element ref="ns4:TaxCatchAll" minOccurs="0"/>
                <xsd:element ref="ns2:MediaLengthInSeconds" minOccurs="0"/>
                <xsd:element ref="ns2:lcf76f155ced4ddcb4097134ff3c332f" minOccurs="0"/>
                <xsd:element ref="ns2:CanvaTemplates"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b7238d-aad9-4b76-aaaa-43d703024f67" elementFormDefault="qualified">
    <xsd:import namespace="http://schemas.microsoft.com/office/2006/documentManagement/types"/>
    <xsd:import namespace="http://schemas.microsoft.com/office/infopath/2007/PartnerControls"/>
    <xsd:element name="Thumbnail" ma:index="2" nillable="true" ma:displayName="Thumbnail" ma:format="Image" ma:internalName="Thumbnai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Picture" ma:index="4" nillable="true" ma:displayName="Picture" ma:format="Image" ma:internalName="Pictur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aption" ma:index="5" nillable="true" ma:displayName="Caption" ma:format="Dropdown" ma:internalName="Caption" ma:readOnly="false">
      <xsd:simpleType>
        <xsd:restriction base="dms:Note">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hidden="true" ma:internalName="MediaServiceAutoTags" ma:readOnly="true">
      <xsd:simpleType>
        <xsd:restriction base="dms:Text"/>
      </xsd:simpleType>
    </xsd:element>
    <xsd:element name="MediaServiceOCR" ma:index="12" nillable="true" ma:displayName="MediaServiceOCR" ma:hidden="true" ma:internalName="MediaServiceOCR" ma:readOnly="true">
      <xsd:simpleType>
        <xsd:restriction base="dms:Note"/>
      </xsd:simpleType>
    </xsd:element>
    <xsd:element name="MediaServiceLocation" ma:index="13" nillable="true" ma:displayName="MediaServiceLocation" ma:hidden="true"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hidden="true" ma:internalName="MediaServiceKeyPoints" ma:readOnly="true">
      <xsd:simpleType>
        <xsd:restriction base="dms:Note"/>
      </xsd:simpleType>
    </xsd:element>
    <xsd:element name="MediaLengthInSeconds" ma:index="25" nillable="true" ma:displayName="Length (seconds)" ma:hidden="true"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fc2d1c6a-5b2e-41c9-bb75-28e62ca304c6" ma:termSetId="09814cd3-568e-fe90-9814-8d621ff8fb84" ma:anchorId="fba54fb3-c3e1-fe81-a776-ca4b69148c4d" ma:open="true" ma:isKeyword="false">
      <xsd:complexType>
        <xsd:sequence>
          <xsd:element ref="pc:Terms" minOccurs="0" maxOccurs="1"/>
        </xsd:sequence>
      </xsd:complexType>
    </xsd:element>
    <xsd:element name="CanvaTemplates" ma:index="29" nillable="true" ma:displayName="Canva Templates" ma:description="https://www.canva.com/design/DAFDr3Cjuw4/VzWfHKhzL7vp3IpiR5tA4A/edit?utm_content=DAFDr3Cjuw4&amp;utm_campaign=designshare&amp;utm_medium=link2&amp;utm_source=sharebutton" ma:format="Hyperlink" ma:internalName="CanvaTemplates">
      <xsd:complexType>
        <xsd:complexContent>
          <xsd:extension base="dms:URL">
            <xsd:sequence>
              <xsd:element name="Url" type="dms:ValidUrl" minOccurs="0" nillable="true"/>
              <xsd:element name="Description" type="xsd:string" nillable="true"/>
            </xsd:sequence>
          </xsd:extension>
        </xsd:complexContent>
      </xsd:complexType>
    </xsd:element>
    <xsd:element name="MediaServiceSearchProperties" ma:index="30" nillable="true" ma:displayName="MediaServiceSearchProperties" ma:hidden="true" ma:internalName="MediaServiceSearchProperties" ma:readOnly="true">
      <xsd:simpleType>
        <xsd:restriction base="dms:Note"/>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0ae4b11-f6d3-4c60-bcd1-5d021da4370d" elementFormDefault="qualified">
    <xsd:import namespace="http://schemas.microsoft.com/office/2006/documentManagement/types"/>
    <xsd:import namespace="http://schemas.microsoft.com/office/infopath/2007/PartnerControls"/>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element name="TaxKeywordTaxHTField" ma:index="22" nillable="true" ma:taxonomy="true" ma:internalName="TaxKeywordTaxHTField" ma:taxonomyFieldName="TaxKeyword" ma:displayName="Enterprise Keywords" ma:readOnly="false" ma:fieldId="{23f27201-bee3-471e-b2e7-b64fd8b7ca38}" ma:taxonomyMulti="true" ma:sspId="fc2d1c6a-5b2e-41c9-bb75-28e62ca304c6"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6a4b93c-d1cc-4bd3-af56-561b2e2f2c4a"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998e2488-e9f8-48f9-a1c9-4c5f0b6f47e1}" ma:internalName="TaxCatchAll" ma:showField="CatchAllData" ma:web="10ae4b11-f6d3-4c60-bcd1-5d021da437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DB49D6-D7A1-4AE9-A68F-AD3AF7751FA2}">
  <ds:schemaRefs>
    <ds:schemaRef ds:uri="http://purl.org/dc/elements/1.1/"/>
    <ds:schemaRef ds:uri="http://purl.org/dc/dcmitype/"/>
    <ds:schemaRef ds:uri="http://schemas.microsoft.com/office/2006/metadata/properties"/>
    <ds:schemaRef ds:uri="http://schemas.microsoft.com/office/2006/documentManagement/types"/>
    <ds:schemaRef ds:uri="http://www.w3.org/XML/1998/namespace"/>
    <ds:schemaRef ds:uri="99b7238d-aad9-4b76-aaaa-43d703024f67"/>
    <ds:schemaRef ds:uri="http://purl.org/dc/terms/"/>
    <ds:schemaRef ds:uri="http://schemas.openxmlformats.org/package/2006/metadata/core-properties"/>
    <ds:schemaRef ds:uri="http://schemas.microsoft.com/office/infopath/2007/PartnerControls"/>
    <ds:schemaRef ds:uri="86a4b93c-d1cc-4bd3-af56-561b2e2f2c4a"/>
    <ds:schemaRef ds:uri="10ae4b11-f6d3-4c60-bcd1-5d021da4370d"/>
  </ds:schemaRefs>
</ds:datastoreItem>
</file>

<file path=customXml/itemProps2.xml><?xml version="1.0" encoding="utf-8"?>
<ds:datastoreItem xmlns:ds="http://schemas.openxmlformats.org/officeDocument/2006/customXml" ds:itemID="{5504FDC2-CE3D-4E9B-A1CF-511BA57E27E7}">
  <ds:schemaRefs>
    <ds:schemaRef ds:uri="http://schemas.microsoft.com/sharepoint/v3/contenttype/forms"/>
  </ds:schemaRefs>
</ds:datastoreItem>
</file>

<file path=customXml/itemProps3.xml><?xml version="1.0" encoding="utf-8"?>
<ds:datastoreItem xmlns:ds="http://schemas.openxmlformats.org/officeDocument/2006/customXml" ds:itemID="{CF794E5E-A63A-4055-8D1B-319B135BB7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b7238d-aad9-4b76-aaaa-43d703024f67"/>
    <ds:schemaRef ds:uri="10ae4b11-f6d3-4c60-bcd1-5d021da4370d"/>
    <ds:schemaRef ds:uri="86a4b93c-d1cc-4bd3-af56-561b2e2f2c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03ef5274-90b8-4b3f-8a76-b4c36a43e904}" enabled="1" method="Privileged" siteId="{61e6eeb3-5fd7-4aaa-ae3c-61e8deb09b79}" removed="0"/>
</clbl:labelList>
</file>

<file path=docProps/app.xml><?xml version="1.0" encoding="utf-8"?>
<Properties xmlns="http://schemas.openxmlformats.org/officeDocument/2006/extended-properties" xmlns:vt="http://schemas.openxmlformats.org/officeDocument/2006/docPropsVTypes">
  <Template/>
  <TotalTime>0</TotalTime>
  <Words>2353</Words>
  <Application>Microsoft Macintosh PowerPoint</Application>
  <PresentationFormat>Widescreen</PresentationFormat>
  <Paragraphs>273</Paragraphs>
  <Slides>40</Slides>
  <Notes>34</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52" baseType="lpstr">
      <vt:lpstr>Arial</vt:lpstr>
      <vt:lpstr>Arvo</vt:lpstr>
      <vt:lpstr>Calibri</vt:lpstr>
      <vt:lpstr>Calibri Light</vt:lpstr>
      <vt:lpstr>Open Sans</vt:lpstr>
      <vt:lpstr>Open Sans Light</vt:lpstr>
      <vt:lpstr>Roboto Slab Light</vt:lpstr>
      <vt:lpstr>Roboto Slab Thin</vt:lpstr>
      <vt:lpstr>Zoram ldsLat</vt:lpstr>
      <vt:lpstr>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ment les étudiants obtiennent un emploi</vt:lpstr>
      <vt:lpstr>Emplois à dist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
  <dc:creator>Utilisateur de Microsoft Office</dc:creator>
  <cp:keywords/>
  <dc:description/>
  <cp:lastModifiedBy>Brian T. Fogelberg</cp:lastModifiedBy>
  <cp:revision>11</cp:revision>
  <dcterms:created xsi:type="dcterms:W3CDTF">2017-08-29T20:07:10Z</dcterms:created>
  <dcterms:modified xsi:type="dcterms:W3CDTF">2024-01-31T17:19:4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5FD9DCFAAD0A439D68C893F04135D8</vt:lpwstr>
  </property>
  <property fmtid="{D5CDD505-2E9C-101B-9397-08002B2CF9AE}" pid="3" name="TaxKeyword">
    <vt:lpwstr/>
  </property>
  <property fmtid="{D5CDD505-2E9C-101B-9397-08002B2CF9AE}" pid="4" name="MediaServiceImageTags">
    <vt:lpwstr/>
  </property>
</Properties>
</file>